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5" r:id="rId1"/>
  </p:sldMasterIdLst>
  <p:notesMasterIdLst>
    <p:notesMasterId r:id="rId30"/>
  </p:notesMasterIdLst>
  <p:sldIdLst>
    <p:sldId id="538" r:id="rId2"/>
    <p:sldId id="428" r:id="rId3"/>
    <p:sldId id="421" r:id="rId4"/>
    <p:sldId id="503" r:id="rId5"/>
    <p:sldId id="415" r:id="rId6"/>
    <p:sldId id="526" r:id="rId7"/>
    <p:sldId id="542" r:id="rId8"/>
    <p:sldId id="499" r:id="rId9"/>
    <p:sldId id="547" r:id="rId10"/>
    <p:sldId id="541" r:id="rId11"/>
    <p:sldId id="540" r:id="rId12"/>
    <p:sldId id="519" r:id="rId13"/>
    <p:sldId id="543" r:id="rId14"/>
    <p:sldId id="517" r:id="rId15"/>
    <p:sldId id="544" r:id="rId16"/>
    <p:sldId id="545" r:id="rId17"/>
    <p:sldId id="546" r:id="rId18"/>
    <p:sldId id="521" r:id="rId19"/>
    <p:sldId id="522" r:id="rId20"/>
    <p:sldId id="524" r:id="rId21"/>
    <p:sldId id="460" r:id="rId22"/>
    <p:sldId id="494" r:id="rId23"/>
    <p:sldId id="495" r:id="rId24"/>
    <p:sldId id="527" r:id="rId25"/>
    <p:sldId id="528" r:id="rId26"/>
    <p:sldId id="532" r:id="rId27"/>
    <p:sldId id="502" r:id="rId28"/>
    <p:sldId id="535"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23C141CE-8DC1-4CB4-8854-420799DD7DAA}">
          <p14:sldIdLst>
            <p14:sldId id="538"/>
            <p14:sldId id="428"/>
            <p14:sldId id="421"/>
            <p14:sldId id="503"/>
            <p14:sldId id="415"/>
            <p14:sldId id="526"/>
            <p14:sldId id="542"/>
            <p14:sldId id="499"/>
            <p14:sldId id="547"/>
            <p14:sldId id="541"/>
            <p14:sldId id="540"/>
            <p14:sldId id="519"/>
            <p14:sldId id="543"/>
            <p14:sldId id="517"/>
            <p14:sldId id="544"/>
            <p14:sldId id="545"/>
            <p14:sldId id="546"/>
            <p14:sldId id="521"/>
            <p14:sldId id="522"/>
            <p14:sldId id="524"/>
            <p14:sldId id="460"/>
            <p14:sldId id="494"/>
            <p14:sldId id="495"/>
            <p14:sldId id="527"/>
            <p14:sldId id="528"/>
            <p14:sldId id="532"/>
            <p14:sldId id="502"/>
            <p14:sldId id="53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ordon Hardy" initials="GH" lastIdx="1" clrIdx="0">
    <p:extLst>
      <p:ext uri="{19B8F6BF-5375-455C-9EA6-DF929625EA0E}">
        <p15:presenceInfo xmlns:p15="http://schemas.microsoft.com/office/powerpoint/2012/main" userId="S-1-5-21-2127521184-1604012920-1887927527-1530765" providerId="AD"/>
      </p:ext>
    </p:extLst>
  </p:cmAuthor>
  <p:cmAuthor id="2" name="Jocelyn Ewert (Eleven 11 Solutions)" initials="JE(1S" lastIdx="1" clrIdx="1">
    <p:extLst>
      <p:ext uri="{19B8F6BF-5375-455C-9EA6-DF929625EA0E}">
        <p15:presenceInfo xmlns:p15="http://schemas.microsoft.com/office/powerpoint/2012/main" userId="S-1-5-21-2127521184-1604012920-1887927527-2476259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4019E"/>
    <a:srgbClr val="D0103A"/>
    <a:srgbClr val="005EB8"/>
    <a:srgbClr val="5B6770"/>
    <a:srgbClr val="772981"/>
    <a:srgbClr val="C78E00"/>
    <a:srgbClr val="333333"/>
    <a:srgbClr val="0078D7"/>
    <a:srgbClr val="007872"/>
    <a:srgbClr val="FFB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177" autoAdjust="0"/>
    <p:restoredTop sz="93767" autoAdjust="0"/>
  </p:normalViewPr>
  <p:slideViewPr>
    <p:cSldViewPr>
      <p:cViewPr varScale="1">
        <p:scale>
          <a:sx n="103" d="100"/>
          <a:sy n="103" d="100"/>
        </p:scale>
        <p:origin x="822" y="108"/>
      </p:cViewPr>
      <p:guideLst/>
    </p:cSldViewPr>
  </p:slideViewPr>
  <p:outlineViewPr>
    <p:cViewPr>
      <p:scale>
        <a:sx n="33" d="100"/>
        <a:sy n="33" d="100"/>
      </p:scale>
      <p:origin x="0" y="-26358"/>
    </p:cViewPr>
  </p:outlineViewPr>
  <p:notesTextViewPr>
    <p:cViewPr>
      <p:scale>
        <a:sx n="1" d="1"/>
        <a:sy n="1" d="1"/>
      </p:scale>
      <p:origin x="0" y="0"/>
    </p:cViewPr>
  </p:notesTextViewPr>
  <p:sorterViewPr>
    <p:cViewPr>
      <p:scale>
        <a:sx n="100" d="100"/>
        <a:sy n="100" d="100"/>
      </p:scale>
      <p:origin x="0" y="-25770"/>
    </p:cViewPr>
  </p:sorterViewPr>
  <p:notesViewPr>
    <p:cSldViewPr>
      <p:cViewPr varScale="1">
        <p:scale>
          <a:sx n="47" d="100"/>
          <a:sy n="47" d="100"/>
        </p:scale>
        <p:origin x="2712" y="44"/>
      </p:cViewPr>
      <p:guideLst/>
    </p:cSldViewPr>
  </p:notesViewPr>
  <p:gridSpacing cx="38100" cy="381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BA80C9-49D6-4318-8755-7D0438D18DB3}" type="doc">
      <dgm:prSet loTypeId="urn:microsoft.com/office/officeart/2005/8/layout/hProcess9" loCatId="process" qsTypeId="urn:microsoft.com/office/officeart/2005/8/quickstyle/3d2" qsCatId="3D" csTypeId="urn:microsoft.com/office/officeart/2005/8/colors/accent1_2" csCatId="accent1" phldr="1"/>
      <dgm:spPr/>
    </dgm:pt>
    <dgm:pt modelId="{5D192057-01A7-41B8-BA2B-18C393A84931}">
      <dgm:prSet phldrT="[Text]" custT="1"/>
      <dgm:spPr>
        <a:solidFill>
          <a:srgbClr val="AF3CBE"/>
        </a:solidFill>
      </dgm:spPr>
      <dgm:t>
        <a:bodyPr/>
        <a:lstStyle/>
        <a:p>
          <a:r>
            <a:rPr lang="en-US" sz="1800" b="1"/>
            <a:t>HOME</a:t>
          </a:r>
        </a:p>
        <a:p>
          <a:r>
            <a:rPr lang="en-US" sz="1200"/>
            <a:t>Formatting</a:t>
          </a:r>
        </a:p>
        <a:p>
          <a:r>
            <a:rPr lang="en-US" sz="1200"/>
            <a:t>Headings</a:t>
          </a:r>
        </a:p>
        <a:p>
          <a:r>
            <a:rPr lang="en-US" sz="1200"/>
            <a:t>Dictate</a:t>
          </a:r>
        </a:p>
        <a:p>
          <a:r>
            <a:rPr lang="en-US" sz="1200"/>
            <a:t>Share</a:t>
          </a:r>
        </a:p>
        <a:p>
          <a:r>
            <a:rPr lang="en-US" sz="1200" b="1" u="sng"/>
            <a:t>Tags</a:t>
          </a:r>
        </a:p>
      </dgm:t>
    </dgm:pt>
    <dgm:pt modelId="{AFB73EF6-6315-4AC7-B14B-51FF294A637A}" type="parTrans" cxnId="{277BFC5C-408B-4F42-912F-E8890ACC6ABC}">
      <dgm:prSet/>
      <dgm:spPr/>
      <dgm:t>
        <a:bodyPr/>
        <a:lstStyle/>
        <a:p>
          <a:endParaRPr lang="en-US"/>
        </a:p>
      </dgm:t>
    </dgm:pt>
    <dgm:pt modelId="{713A4B84-AA5B-4911-94B8-4440AADBA06C}" type="sibTrans" cxnId="{277BFC5C-408B-4F42-912F-E8890ACC6ABC}">
      <dgm:prSet/>
      <dgm:spPr/>
      <dgm:t>
        <a:bodyPr/>
        <a:lstStyle/>
        <a:p>
          <a:endParaRPr lang="en-US"/>
        </a:p>
      </dgm:t>
    </dgm:pt>
    <dgm:pt modelId="{547674C0-E558-4C7A-A6DC-9C08A089C512}">
      <dgm:prSet phldrT="[Text]" custT="1"/>
      <dgm:spPr>
        <a:solidFill>
          <a:srgbClr val="AF3CBE"/>
        </a:solidFill>
      </dgm:spPr>
      <dgm:t>
        <a:bodyPr/>
        <a:lstStyle/>
        <a:p>
          <a:r>
            <a:rPr lang="en-US" sz="1800" b="1"/>
            <a:t>DRAW</a:t>
          </a:r>
        </a:p>
        <a:p>
          <a:r>
            <a:rPr lang="en-US" sz="1200"/>
            <a:t>Tools</a:t>
          </a:r>
        </a:p>
        <a:p>
          <a:r>
            <a:rPr lang="en-US" sz="1200"/>
            <a:t>Highlight</a:t>
          </a:r>
        </a:p>
        <a:p>
          <a:r>
            <a:rPr lang="en-US" sz="1200"/>
            <a:t>Shapes</a:t>
          </a:r>
        </a:p>
        <a:p>
          <a:r>
            <a:rPr lang="en-US" sz="1200"/>
            <a:t>Ruler</a:t>
          </a:r>
        </a:p>
        <a:p>
          <a:r>
            <a:rPr lang="en-US" sz="1200" b="1" u="sng"/>
            <a:t>Math</a:t>
          </a:r>
        </a:p>
      </dgm:t>
    </dgm:pt>
    <dgm:pt modelId="{FBC1A0DD-B9D0-4AD9-95BE-8D3C5703B63D}" type="parTrans" cxnId="{022E4E73-044C-4CB6-99A7-0DAE0DCD9427}">
      <dgm:prSet/>
      <dgm:spPr/>
      <dgm:t>
        <a:bodyPr/>
        <a:lstStyle/>
        <a:p>
          <a:endParaRPr lang="en-US"/>
        </a:p>
      </dgm:t>
    </dgm:pt>
    <dgm:pt modelId="{F1065D0E-E123-4914-A3BE-E4CF0B01102B}" type="sibTrans" cxnId="{022E4E73-044C-4CB6-99A7-0DAE0DCD9427}">
      <dgm:prSet/>
      <dgm:spPr/>
      <dgm:t>
        <a:bodyPr/>
        <a:lstStyle/>
        <a:p>
          <a:endParaRPr lang="en-US"/>
        </a:p>
      </dgm:t>
    </dgm:pt>
    <dgm:pt modelId="{243D727C-AF34-45E0-9345-EBB291FD579D}">
      <dgm:prSet phldrT="[Text]" custT="1"/>
      <dgm:spPr>
        <a:solidFill>
          <a:srgbClr val="AF3CBE"/>
        </a:solidFill>
      </dgm:spPr>
      <dgm:t>
        <a:bodyPr/>
        <a:lstStyle/>
        <a:p>
          <a:r>
            <a:rPr lang="en-US" sz="1800" b="1"/>
            <a:t>INSERT</a:t>
          </a:r>
        </a:p>
        <a:p>
          <a:r>
            <a:rPr lang="en-US" sz="1200"/>
            <a:t>Tables</a:t>
          </a:r>
        </a:p>
        <a:p>
          <a:r>
            <a:rPr lang="en-US" sz="1200"/>
            <a:t>Files</a:t>
          </a:r>
        </a:p>
        <a:p>
          <a:r>
            <a:rPr lang="en-US" sz="1200"/>
            <a:t>Links</a:t>
          </a:r>
        </a:p>
        <a:p>
          <a:r>
            <a:rPr lang="en-US" sz="1200"/>
            <a:t>Audio/Video</a:t>
          </a:r>
        </a:p>
        <a:p>
          <a:r>
            <a:rPr lang="en-US" sz="1200" b="1" u="sng"/>
            <a:t>Specialized content</a:t>
          </a:r>
          <a:endParaRPr lang="en-US" sz="1300" b="1" u="sng"/>
        </a:p>
      </dgm:t>
    </dgm:pt>
    <dgm:pt modelId="{46360556-4479-465C-A27F-668B8D922FA6}" type="parTrans" cxnId="{B1356342-B440-4536-A809-3E0351187E60}">
      <dgm:prSet/>
      <dgm:spPr/>
      <dgm:t>
        <a:bodyPr/>
        <a:lstStyle/>
        <a:p>
          <a:endParaRPr lang="en-US"/>
        </a:p>
      </dgm:t>
    </dgm:pt>
    <dgm:pt modelId="{46F1A872-5410-499E-B447-0241720D13AC}" type="sibTrans" cxnId="{B1356342-B440-4536-A809-3E0351187E60}">
      <dgm:prSet/>
      <dgm:spPr/>
      <dgm:t>
        <a:bodyPr/>
        <a:lstStyle/>
        <a:p>
          <a:endParaRPr lang="en-US"/>
        </a:p>
      </dgm:t>
    </dgm:pt>
    <dgm:pt modelId="{DACC7014-53D1-4E5D-8FB6-BAF307A32F82}" type="pres">
      <dgm:prSet presAssocID="{EFBA80C9-49D6-4318-8755-7D0438D18DB3}" presName="CompostProcess" presStyleCnt="0">
        <dgm:presLayoutVars>
          <dgm:dir/>
          <dgm:resizeHandles val="exact"/>
        </dgm:presLayoutVars>
      </dgm:prSet>
      <dgm:spPr/>
    </dgm:pt>
    <dgm:pt modelId="{816C375C-5EEE-4E13-83FD-E0510560CC3B}" type="pres">
      <dgm:prSet presAssocID="{EFBA80C9-49D6-4318-8755-7D0438D18DB3}" presName="arrow" presStyleLbl="bgShp" presStyleIdx="0" presStyleCnt="1"/>
      <dgm:spPr>
        <a:solidFill>
          <a:schemeClr val="bg1">
            <a:lumMod val="65000"/>
          </a:schemeClr>
        </a:solidFill>
      </dgm:spPr>
    </dgm:pt>
    <dgm:pt modelId="{66D011FB-22A5-4CFA-ABD2-6435A7D0E8D0}" type="pres">
      <dgm:prSet presAssocID="{EFBA80C9-49D6-4318-8755-7D0438D18DB3}" presName="linearProcess" presStyleCnt="0"/>
      <dgm:spPr/>
    </dgm:pt>
    <dgm:pt modelId="{88B46333-A610-429A-BC83-E98887DAE7C4}" type="pres">
      <dgm:prSet presAssocID="{5D192057-01A7-41B8-BA2B-18C393A84931}" presName="textNode" presStyleLbl="node1" presStyleIdx="0" presStyleCnt="3">
        <dgm:presLayoutVars>
          <dgm:bulletEnabled val="1"/>
        </dgm:presLayoutVars>
      </dgm:prSet>
      <dgm:spPr/>
    </dgm:pt>
    <dgm:pt modelId="{5F1275A2-4F33-4696-97D8-3D856B160454}" type="pres">
      <dgm:prSet presAssocID="{713A4B84-AA5B-4911-94B8-4440AADBA06C}" presName="sibTrans" presStyleCnt="0"/>
      <dgm:spPr/>
    </dgm:pt>
    <dgm:pt modelId="{D4695A29-8B0A-45ED-8854-34FB36F7979D}" type="pres">
      <dgm:prSet presAssocID="{243D727C-AF34-45E0-9345-EBB291FD579D}" presName="textNode" presStyleLbl="node1" presStyleIdx="1" presStyleCnt="3">
        <dgm:presLayoutVars>
          <dgm:bulletEnabled val="1"/>
        </dgm:presLayoutVars>
      </dgm:prSet>
      <dgm:spPr/>
    </dgm:pt>
    <dgm:pt modelId="{46D02200-9784-421A-8FCC-A0426D708570}" type="pres">
      <dgm:prSet presAssocID="{46F1A872-5410-499E-B447-0241720D13AC}" presName="sibTrans" presStyleCnt="0"/>
      <dgm:spPr/>
    </dgm:pt>
    <dgm:pt modelId="{CF405C6B-72F3-462A-8471-7971C0F9AD57}" type="pres">
      <dgm:prSet presAssocID="{547674C0-E558-4C7A-A6DC-9C08A089C512}" presName="textNode" presStyleLbl="node1" presStyleIdx="2" presStyleCnt="3">
        <dgm:presLayoutVars>
          <dgm:bulletEnabled val="1"/>
        </dgm:presLayoutVars>
      </dgm:prSet>
      <dgm:spPr/>
    </dgm:pt>
  </dgm:ptLst>
  <dgm:cxnLst>
    <dgm:cxn modelId="{D467B406-C4B9-4CED-AC95-93BA573CE99D}" type="presOf" srcId="{243D727C-AF34-45E0-9345-EBB291FD579D}" destId="{D4695A29-8B0A-45ED-8854-34FB36F7979D}" srcOrd="0" destOrd="0" presId="urn:microsoft.com/office/officeart/2005/8/layout/hProcess9"/>
    <dgm:cxn modelId="{277BFC5C-408B-4F42-912F-E8890ACC6ABC}" srcId="{EFBA80C9-49D6-4318-8755-7D0438D18DB3}" destId="{5D192057-01A7-41B8-BA2B-18C393A84931}" srcOrd="0" destOrd="0" parTransId="{AFB73EF6-6315-4AC7-B14B-51FF294A637A}" sibTransId="{713A4B84-AA5B-4911-94B8-4440AADBA06C}"/>
    <dgm:cxn modelId="{B1356342-B440-4536-A809-3E0351187E60}" srcId="{EFBA80C9-49D6-4318-8755-7D0438D18DB3}" destId="{243D727C-AF34-45E0-9345-EBB291FD579D}" srcOrd="1" destOrd="0" parTransId="{46360556-4479-465C-A27F-668B8D922FA6}" sibTransId="{46F1A872-5410-499E-B447-0241720D13AC}"/>
    <dgm:cxn modelId="{EC16BB6F-F1BE-4527-AC7C-24E7099E719A}" type="presOf" srcId="{5D192057-01A7-41B8-BA2B-18C393A84931}" destId="{88B46333-A610-429A-BC83-E98887DAE7C4}" srcOrd="0" destOrd="0" presId="urn:microsoft.com/office/officeart/2005/8/layout/hProcess9"/>
    <dgm:cxn modelId="{022E4E73-044C-4CB6-99A7-0DAE0DCD9427}" srcId="{EFBA80C9-49D6-4318-8755-7D0438D18DB3}" destId="{547674C0-E558-4C7A-A6DC-9C08A089C512}" srcOrd="2" destOrd="0" parTransId="{FBC1A0DD-B9D0-4AD9-95BE-8D3C5703B63D}" sibTransId="{F1065D0E-E123-4914-A3BE-E4CF0B01102B}"/>
    <dgm:cxn modelId="{A98BF186-EABF-4D64-A93B-6148F9B09B7E}" type="presOf" srcId="{547674C0-E558-4C7A-A6DC-9C08A089C512}" destId="{CF405C6B-72F3-462A-8471-7971C0F9AD57}" srcOrd="0" destOrd="0" presId="urn:microsoft.com/office/officeart/2005/8/layout/hProcess9"/>
    <dgm:cxn modelId="{D620B4E4-BF59-48CE-964A-72DDB4BB9426}" type="presOf" srcId="{EFBA80C9-49D6-4318-8755-7D0438D18DB3}" destId="{DACC7014-53D1-4E5D-8FB6-BAF307A32F82}" srcOrd="0" destOrd="0" presId="urn:microsoft.com/office/officeart/2005/8/layout/hProcess9"/>
    <dgm:cxn modelId="{5C278E8D-582D-4C3D-9DBA-9D7C94E9E7D5}" type="presParOf" srcId="{DACC7014-53D1-4E5D-8FB6-BAF307A32F82}" destId="{816C375C-5EEE-4E13-83FD-E0510560CC3B}" srcOrd="0" destOrd="0" presId="urn:microsoft.com/office/officeart/2005/8/layout/hProcess9"/>
    <dgm:cxn modelId="{310C52A4-82BB-4FB7-BB72-A18FA2CAFF0B}" type="presParOf" srcId="{DACC7014-53D1-4E5D-8FB6-BAF307A32F82}" destId="{66D011FB-22A5-4CFA-ABD2-6435A7D0E8D0}" srcOrd="1" destOrd="0" presId="urn:microsoft.com/office/officeart/2005/8/layout/hProcess9"/>
    <dgm:cxn modelId="{5ABCEF1E-23F0-43DC-AE18-4890B438E78E}" type="presParOf" srcId="{66D011FB-22A5-4CFA-ABD2-6435A7D0E8D0}" destId="{88B46333-A610-429A-BC83-E98887DAE7C4}" srcOrd="0" destOrd="0" presId="urn:microsoft.com/office/officeart/2005/8/layout/hProcess9"/>
    <dgm:cxn modelId="{399EDF78-7041-4911-9949-3A57A8B8081F}" type="presParOf" srcId="{66D011FB-22A5-4CFA-ABD2-6435A7D0E8D0}" destId="{5F1275A2-4F33-4696-97D8-3D856B160454}" srcOrd="1" destOrd="0" presId="urn:microsoft.com/office/officeart/2005/8/layout/hProcess9"/>
    <dgm:cxn modelId="{F7430C15-808F-40EE-BCB3-2815898074E0}" type="presParOf" srcId="{66D011FB-22A5-4CFA-ABD2-6435A7D0E8D0}" destId="{D4695A29-8B0A-45ED-8854-34FB36F7979D}" srcOrd="2" destOrd="0" presId="urn:microsoft.com/office/officeart/2005/8/layout/hProcess9"/>
    <dgm:cxn modelId="{996E61FD-0B40-4C99-A9B9-5F4FE2D8854C}" type="presParOf" srcId="{66D011FB-22A5-4CFA-ABD2-6435A7D0E8D0}" destId="{46D02200-9784-421A-8FCC-A0426D708570}" srcOrd="3" destOrd="0" presId="urn:microsoft.com/office/officeart/2005/8/layout/hProcess9"/>
    <dgm:cxn modelId="{A3BB7C3E-1681-4CB0-9E66-8FF85F83FB00}" type="presParOf" srcId="{66D011FB-22A5-4CFA-ABD2-6435A7D0E8D0}" destId="{CF405C6B-72F3-462A-8471-7971C0F9AD57}" srcOrd="4" destOrd="0" presId="urn:microsoft.com/office/officeart/2005/8/layout/hProcess9"/>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FBA80C9-49D6-4318-8755-7D0438D18DB3}" type="doc">
      <dgm:prSet loTypeId="urn:microsoft.com/office/officeart/2005/8/layout/hProcess9" loCatId="process" qsTypeId="urn:microsoft.com/office/officeart/2005/8/quickstyle/3d2" qsCatId="3D" csTypeId="urn:microsoft.com/office/officeart/2005/8/colors/accent1_2" csCatId="accent1" phldr="1"/>
      <dgm:spPr/>
    </dgm:pt>
    <dgm:pt modelId="{5D192057-01A7-41B8-BA2B-18C393A84931}">
      <dgm:prSet phldrT="[Text]" custT="1"/>
      <dgm:spPr>
        <a:solidFill>
          <a:srgbClr val="AF3CBE"/>
        </a:solidFill>
      </dgm:spPr>
      <dgm:t>
        <a:bodyPr/>
        <a:lstStyle/>
        <a:p>
          <a:r>
            <a:rPr lang="en-US" sz="1800" b="1"/>
            <a:t>VIEW</a:t>
          </a:r>
        </a:p>
        <a:p>
          <a:r>
            <a:rPr lang="en-US" sz="1200"/>
            <a:t>Immersive Reader</a:t>
          </a:r>
        </a:p>
        <a:p>
          <a:r>
            <a:rPr lang="en-US" sz="1200"/>
            <a:t>Page Color</a:t>
          </a:r>
        </a:p>
        <a:p>
          <a:r>
            <a:rPr lang="en-US" sz="1200"/>
            <a:t>Rule Lines</a:t>
          </a:r>
        </a:p>
        <a:p>
          <a:r>
            <a:rPr lang="en-US" sz="1200"/>
            <a:t>Translate</a:t>
          </a:r>
        </a:p>
        <a:p>
          <a:r>
            <a:rPr lang="en-US" sz="1200" b="1" u="sng"/>
            <a:t>Replay</a:t>
          </a:r>
        </a:p>
      </dgm:t>
    </dgm:pt>
    <dgm:pt modelId="{AFB73EF6-6315-4AC7-B14B-51FF294A637A}" type="parTrans" cxnId="{277BFC5C-408B-4F42-912F-E8890ACC6ABC}">
      <dgm:prSet/>
      <dgm:spPr/>
      <dgm:t>
        <a:bodyPr/>
        <a:lstStyle/>
        <a:p>
          <a:endParaRPr lang="en-US"/>
        </a:p>
      </dgm:t>
    </dgm:pt>
    <dgm:pt modelId="{713A4B84-AA5B-4911-94B8-4440AADBA06C}" type="sibTrans" cxnId="{277BFC5C-408B-4F42-912F-E8890ACC6ABC}">
      <dgm:prSet/>
      <dgm:spPr/>
      <dgm:t>
        <a:bodyPr/>
        <a:lstStyle/>
        <a:p>
          <a:endParaRPr lang="en-US"/>
        </a:p>
      </dgm:t>
    </dgm:pt>
    <dgm:pt modelId="{547674C0-E558-4C7A-A6DC-9C08A089C512}">
      <dgm:prSet phldrT="[Text]" custT="1"/>
      <dgm:spPr>
        <a:solidFill>
          <a:srgbClr val="AF3CBE"/>
        </a:solidFill>
      </dgm:spPr>
      <dgm:t>
        <a:bodyPr/>
        <a:lstStyle/>
        <a:p>
          <a:r>
            <a:rPr lang="en-US" sz="1800" b="1"/>
            <a:t>CLASS NOTEBOOK</a:t>
          </a:r>
        </a:p>
        <a:p>
          <a:r>
            <a:rPr lang="en-US" sz="1200"/>
            <a:t>Add-In</a:t>
          </a:r>
        </a:p>
        <a:p>
          <a:r>
            <a:rPr lang="en-US" sz="1200"/>
            <a:t>Distribute Content</a:t>
          </a:r>
        </a:p>
        <a:p>
          <a:r>
            <a:rPr lang="en-US" sz="1200"/>
            <a:t>Assign/Review Work</a:t>
          </a:r>
        </a:p>
        <a:p>
          <a:r>
            <a:rPr lang="en-US" sz="1200"/>
            <a:t>Manage</a:t>
          </a:r>
        </a:p>
      </dgm:t>
    </dgm:pt>
    <dgm:pt modelId="{FBC1A0DD-B9D0-4AD9-95BE-8D3C5703B63D}" type="parTrans" cxnId="{022E4E73-044C-4CB6-99A7-0DAE0DCD9427}">
      <dgm:prSet/>
      <dgm:spPr/>
      <dgm:t>
        <a:bodyPr/>
        <a:lstStyle/>
        <a:p>
          <a:endParaRPr lang="en-US"/>
        </a:p>
      </dgm:t>
    </dgm:pt>
    <dgm:pt modelId="{F1065D0E-E123-4914-A3BE-E4CF0B01102B}" type="sibTrans" cxnId="{022E4E73-044C-4CB6-99A7-0DAE0DCD9427}">
      <dgm:prSet/>
      <dgm:spPr/>
      <dgm:t>
        <a:bodyPr/>
        <a:lstStyle/>
        <a:p>
          <a:endParaRPr lang="en-US"/>
        </a:p>
      </dgm:t>
    </dgm:pt>
    <dgm:pt modelId="{243D727C-AF34-45E0-9345-EBB291FD579D}">
      <dgm:prSet phldrT="[Text]" custT="1"/>
      <dgm:spPr>
        <a:solidFill>
          <a:srgbClr val="AF3CBE"/>
        </a:solidFill>
      </dgm:spPr>
      <dgm:t>
        <a:bodyPr/>
        <a:lstStyle/>
        <a:p>
          <a:r>
            <a:rPr lang="en-US" sz="1800" b="1"/>
            <a:t>HELP</a:t>
          </a:r>
        </a:p>
        <a:p>
          <a:r>
            <a:rPr lang="en-US" sz="1200"/>
            <a:t>Topics</a:t>
          </a:r>
        </a:p>
        <a:p>
          <a:r>
            <a:rPr lang="en-US" sz="1200"/>
            <a:t>Feedback</a:t>
          </a:r>
        </a:p>
        <a:p>
          <a:r>
            <a:rPr lang="en-US" sz="1200"/>
            <a:t>Training</a:t>
          </a:r>
        </a:p>
        <a:p>
          <a:r>
            <a:rPr lang="en-US" sz="1200"/>
            <a:t>What’s New</a:t>
          </a:r>
        </a:p>
        <a:p>
          <a:endParaRPr lang="en-US" sz="1200"/>
        </a:p>
      </dgm:t>
    </dgm:pt>
    <dgm:pt modelId="{46360556-4479-465C-A27F-668B8D922FA6}" type="parTrans" cxnId="{B1356342-B440-4536-A809-3E0351187E60}">
      <dgm:prSet/>
      <dgm:spPr/>
      <dgm:t>
        <a:bodyPr/>
        <a:lstStyle/>
        <a:p>
          <a:endParaRPr lang="en-US"/>
        </a:p>
      </dgm:t>
    </dgm:pt>
    <dgm:pt modelId="{46F1A872-5410-499E-B447-0241720D13AC}" type="sibTrans" cxnId="{B1356342-B440-4536-A809-3E0351187E60}">
      <dgm:prSet/>
      <dgm:spPr/>
      <dgm:t>
        <a:bodyPr/>
        <a:lstStyle/>
        <a:p>
          <a:endParaRPr lang="en-US"/>
        </a:p>
      </dgm:t>
    </dgm:pt>
    <dgm:pt modelId="{DACC7014-53D1-4E5D-8FB6-BAF307A32F82}" type="pres">
      <dgm:prSet presAssocID="{EFBA80C9-49D6-4318-8755-7D0438D18DB3}" presName="CompostProcess" presStyleCnt="0">
        <dgm:presLayoutVars>
          <dgm:dir/>
          <dgm:resizeHandles val="exact"/>
        </dgm:presLayoutVars>
      </dgm:prSet>
      <dgm:spPr/>
    </dgm:pt>
    <dgm:pt modelId="{816C375C-5EEE-4E13-83FD-E0510560CC3B}" type="pres">
      <dgm:prSet presAssocID="{EFBA80C9-49D6-4318-8755-7D0438D18DB3}" presName="arrow" presStyleLbl="bgShp" presStyleIdx="0" presStyleCnt="1"/>
      <dgm:spPr>
        <a:solidFill>
          <a:schemeClr val="bg1">
            <a:lumMod val="65000"/>
          </a:schemeClr>
        </a:solidFill>
      </dgm:spPr>
    </dgm:pt>
    <dgm:pt modelId="{66D011FB-22A5-4CFA-ABD2-6435A7D0E8D0}" type="pres">
      <dgm:prSet presAssocID="{EFBA80C9-49D6-4318-8755-7D0438D18DB3}" presName="linearProcess" presStyleCnt="0"/>
      <dgm:spPr/>
    </dgm:pt>
    <dgm:pt modelId="{88B46333-A610-429A-BC83-E98887DAE7C4}" type="pres">
      <dgm:prSet presAssocID="{5D192057-01A7-41B8-BA2B-18C393A84931}" presName="textNode" presStyleLbl="node1" presStyleIdx="0" presStyleCnt="3">
        <dgm:presLayoutVars>
          <dgm:bulletEnabled val="1"/>
        </dgm:presLayoutVars>
      </dgm:prSet>
      <dgm:spPr/>
    </dgm:pt>
    <dgm:pt modelId="{5F1275A2-4F33-4696-97D8-3D856B160454}" type="pres">
      <dgm:prSet presAssocID="{713A4B84-AA5B-4911-94B8-4440AADBA06C}" presName="sibTrans" presStyleCnt="0"/>
      <dgm:spPr/>
    </dgm:pt>
    <dgm:pt modelId="{D4695A29-8B0A-45ED-8854-34FB36F7979D}" type="pres">
      <dgm:prSet presAssocID="{243D727C-AF34-45E0-9345-EBB291FD579D}" presName="textNode" presStyleLbl="node1" presStyleIdx="1" presStyleCnt="3">
        <dgm:presLayoutVars>
          <dgm:bulletEnabled val="1"/>
        </dgm:presLayoutVars>
      </dgm:prSet>
      <dgm:spPr/>
    </dgm:pt>
    <dgm:pt modelId="{46D02200-9784-421A-8FCC-A0426D708570}" type="pres">
      <dgm:prSet presAssocID="{46F1A872-5410-499E-B447-0241720D13AC}" presName="sibTrans" presStyleCnt="0"/>
      <dgm:spPr/>
    </dgm:pt>
    <dgm:pt modelId="{CF405C6B-72F3-462A-8471-7971C0F9AD57}" type="pres">
      <dgm:prSet presAssocID="{547674C0-E558-4C7A-A6DC-9C08A089C512}" presName="textNode" presStyleLbl="node1" presStyleIdx="2" presStyleCnt="3" custLinFactNeighborX="839">
        <dgm:presLayoutVars>
          <dgm:bulletEnabled val="1"/>
        </dgm:presLayoutVars>
      </dgm:prSet>
      <dgm:spPr/>
    </dgm:pt>
  </dgm:ptLst>
  <dgm:cxnLst>
    <dgm:cxn modelId="{D467B406-C4B9-4CED-AC95-93BA573CE99D}" type="presOf" srcId="{243D727C-AF34-45E0-9345-EBB291FD579D}" destId="{D4695A29-8B0A-45ED-8854-34FB36F7979D}" srcOrd="0" destOrd="0" presId="urn:microsoft.com/office/officeart/2005/8/layout/hProcess9"/>
    <dgm:cxn modelId="{277BFC5C-408B-4F42-912F-E8890ACC6ABC}" srcId="{EFBA80C9-49D6-4318-8755-7D0438D18DB3}" destId="{5D192057-01A7-41B8-BA2B-18C393A84931}" srcOrd="0" destOrd="0" parTransId="{AFB73EF6-6315-4AC7-B14B-51FF294A637A}" sibTransId="{713A4B84-AA5B-4911-94B8-4440AADBA06C}"/>
    <dgm:cxn modelId="{B1356342-B440-4536-A809-3E0351187E60}" srcId="{EFBA80C9-49D6-4318-8755-7D0438D18DB3}" destId="{243D727C-AF34-45E0-9345-EBB291FD579D}" srcOrd="1" destOrd="0" parTransId="{46360556-4479-465C-A27F-668B8D922FA6}" sibTransId="{46F1A872-5410-499E-B447-0241720D13AC}"/>
    <dgm:cxn modelId="{EC16BB6F-F1BE-4527-AC7C-24E7099E719A}" type="presOf" srcId="{5D192057-01A7-41B8-BA2B-18C393A84931}" destId="{88B46333-A610-429A-BC83-E98887DAE7C4}" srcOrd="0" destOrd="0" presId="urn:microsoft.com/office/officeart/2005/8/layout/hProcess9"/>
    <dgm:cxn modelId="{022E4E73-044C-4CB6-99A7-0DAE0DCD9427}" srcId="{EFBA80C9-49D6-4318-8755-7D0438D18DB3}" destId="{547674C0-E558-4C7A-A6DC-9C08A089C512}" srcOrd="2" destOrd="0" parTransId="{FBC1A0DD-B9D0-4AD9-95BE-8D3C5703B63D}" sibTransId="{F1065D0E-E123-4914-A3BE-E4CF0B01102B}"/>
    <dgm:cxn modelId="{A98BF186-EABF-4D64-A93B-6148F9B09B7E}" type="presOf" srcId="{547674C0-E558-4C7A-A6DC-9C08A089C512}" destId="{CF405C6B-72F3-462A-8471-7971C0F9AD57}" srcOrd="0" destOrd="0" presId="urn:microsoft.com/office/officeart/2005/8/layout/hProcess9"/>
    <dgm:cxn modelId="{D620B4E4-BF59-48CE-964A-72DDB4BB9426}" type="presOf" srcId="{EFBA80C9-49D6-4318-8755-7D0438D18DB3}" destId="{DACC7014-53D1-4E5D-8FB6-BAF307A32F82}" srcOrd="0" destOrd="0" presId="urn:microsoft.com/office/officeart/2005/8/layout/hProcess9"/>
    <dgm:cxn modelId="{5C278E8D-582D-4C3D-9DBA-9D7C94E9E7D5}" type="presParOf" srcId="{DACC7014-53D1-4E5D-8FB6-BAF307A32F82}" destId="{816C375C-5EEE-4E13-83FD-E0510560CC3B}" srcOrd="0" destOrd="0" presId="urn:microsoft.com/office/officeart/2005/8/layout/hProcess9"/>
    <dgm:cxn modelId="{310C52A4-82BB-4FB7-BB72-A18FA2CAFF0B}" type="presParOf" srcId="{DACC7014-53D1-4E5D-8FB6-BAF307A32F82}" destId="{66D011FB-22A5-4CFA-ABD2-6435A7D0E8D0}" srcOrd="1" destOrd="0" presId="urn:microsoft.com/office/officeart/2005/8/layout/hProcess9"/>
    <dgm:cxn modelId="{5ABCEF1E-23F0-43DC-AE18-4890B438E78E}" type="presParOf" srcId="{66D011FB-22A5-4CFA-ABD2-6435A7D0E8D0}" destId="{88B46333-A610-429A-BC83-E98887DAE7C4}" srcOrd="0" destOrd="0" presId="urn:microsoft.com/office/officeart/2005/8/layout/hProcess9"/>
    <dgm:cxn modelId="{399EDF78-7041-4911-9949-3A57A8B8081F}" type="presParOf" srcId="{66D011FB-22A5-4CFA-ABD2-6435A7D0E8D0}" destId="{5F1275A2-4F33-4696-97D8-3D856B160454}" srcOrd="1" destOrd="0" presId="urn:microsoft.com/office/officeart/2005/8/layout/hProcess9"/>
    <dgm:cxn modelId="{F7430C15-808F-40EE-BCB3-2815898074E0}" type="presParOf" srcId="{66D011FB-22A5-4CFA-ABD2-6435A7D0E8D0}" destId="{D4695A29-8B0A-45ED-8854-34FB36F7979D}" srcOrd="2" destOrd="0" presId="urn:microsoft.com/office/officeart/2005/8/layout/hProcess9"/>
    <dgm:cxn modelId="{996E61FD-0B40-4C99-A9B9-5F4FE2D8854C}" type="presParOf" srcId="{66D011FB-22A5-4CFA-ABD2-6435A7D0E8D0}" destId="{46D02200-9784-421A-8FCC-A0426D708570}" srcOrd="3" destOrd="0" presId="urn:microsoft.com/office/officeart/2005/8/layout/hProcess9"/>
    <dgm:cxn modelId="{A3BB7C3E-1681-4CB0-9E66-8FF85F83FB00}" type="presParOf" srcId="{66D011FB-22A5-4CFA-ABD2-6435A7D0E8D0}" destId="{CF405C6B-72F3-462A-8471-7971C0F9AD57}"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FBA80C9-49D6-4318-8755-7D0438D18DB3}" type="doc">
      <dgm:prSet loTypeId="urn:microsoft.com/office/officeart/2005/8/layout/hProcess9" loCatId="process" qsTypeId="urn:microsoft.com/office/officeart/2005/8/quickstyle/3d2" qsCatId="3D" csTypeId="urn:microsoft.com/office/officeart/2005/8/colors/accent1_2" csCatId="accent1" phldr="1"/>
      <dgm:spPr/>
    </dgm:pt>
    <dgm:pt modelId="{5D192057-01A7-41B8-BA2B-18C393A84931}">
      <dgm:prSet phldrT="[Text]" custT="1"/>
      <dgm:spPr>
        <a:solidFill>
          <a:srgbClr val="AF3CBE"/>
        </a:solidFill>
      </dgm:spPr>
      <dgm:t>
        <a:bodyPr/>
        <a:lstStyle/>
        <a:p>
          <a:r>
            <a:rPr lang="en-US" sz="1800" b="1"/>
            <a:t>VIEW</a:t>
          </a:r>
        </a:p>
        <a:p>
          <a:r>
            <a:rPr lang="en-US" sz="1200"/>
            <a:t>Immersive Reader</a:t>
          </a:r>
        </a:p>
        <a:p>
          <a:r>
            <a:rPr lang="en-US" sz="1200"/>
            <a:t>Page Color</a:t>
          </a:r>
        </a:p>
        <a:p>
          <a:r>
            <a:rPr lang="en-US" sz="1200"/>
            <a:t>Rule Lines</a:t>
          </a:r>
        </a:p>
        <a:p>
          <a:r>
            <a:rPr lang="en-US" sz="1200"/>
            <a:t>Translate</a:t>
          </a:r>
        </a:p>
        <a:p>
          <a:r>
            <a:rPr lang="en-US" sz="1200" b="1" u="sng"/>
            <a:t>Replay</a:t>
          </a:r>
        </a:p>
      </dgm:t>
    </dgm:pt>
    <dgm:pt modelId="{AFB73EF6-6315-4AC7-B14B-51FF294A637A}" type="parTrans" cxnId="{277BFC5C-408B-4F42-912F-E8890ACC6ABC}">
      <dgm:prSet/>
      <dgm:spPr/>
      <dgm:t>
        <a:bodyPr/>
        <a:lstStyle/>
        <a:p>
          <a:endParaRPr lang="en-US"/>
        </a:p>
      </dgm:t>
    </dgm:pt>
    <dgm:pt modelId="{713A4B84-AA5B-4911-94B8-4440AADBA06C}" type="sibTrans" cxnId="{277BFC5C-408B-4F42-912F-E8890ACC6ABC}">
      <dgm:prSet/>
      <dgm:spPr/>
      <dgm:t>
        <a:bodyPr/>
        <a:lstStyle/>
        <a:p>
          <a:endParaRPr lang="en-US"/>
        </a:p>
      </dgm:t>
    </dgm:pt>
    <dgm:pt modelId="{547674C0-E558-4C7A-A6DC-9C08A089C512}">
      <dgm:prSet phldrT="[Text]" custT="1"/>
      <dgm:spPr>
        <a:solidFill>
          <a:srgbClr val="AF3CBE"/>
        </a:solidFill>
      </dgm:spPr>
      <dgm:t>
        <a:bodyPr/>
        <a:lstStyle/>
        <a:p>
          <a:r>
            <a:rPr lang="en-US" sz="1800" b="1"/>
            <a:t>CLASS NOTEBOOK</a:t>
          </a:r>
        </a:p>
        <a:p>
          <a:r>
            <a:rPr lang="en-US" sz="1200"/>
            <a:t>Add-In</a:t>
          </a:r>
        </a:p>
        <a:p>
          <a:r>
            <a:rPr lang="en-US" sz="1200"/>
            <a:t>Distribute Content</a:t>
          </a:r>
        </a:p>
        <a:p>
          <a:r>
            <a:rPr lang="en-US" sz="1200"/>
            <a:t>Assign/Review Work</a:t>
          </a:r>
        </a:p>
        <a:p>
          <a:r>
            <a:rPr lang="en-US" sz="1200"/>
            <a:t>Manage</a:t>
          </a:r>
        </a:p>
      </dgm:t>
    </dgm:pt>
    <dgm:pt modelId="{FBC1A0DD-B9D0-4AD9-95BE-8D3C5703B63D}" type="parTrans" cxnId="{022E4E73-044C-4CB6-99A7-0DAE0DCD9427}">
      <dgm:prSet/>
      <dgm:spPr/>
      <dgm:t>
        <a:bodyPr/>
        <a:lstStyle/>
        <a:p>
          <a:endParaRPr lang="en-US"/>
        </a:p>
      </dgm:t>
    </dgm:pt>
    <dgm:pt modelId="{F1065D0E-E123-4914-A3BE-E4CF0B01102B}" type="sibTrans" cxnId="{022E4E73-044C-4CB6-99A7-0DAE0DCD9427}">
      <dgm:prSet/>
      <dgm:spPr/>
      <dgm:t>
        <a:bodyPr/>
        <a:lstStyle/>
        <a:p>
          <a:endParaRPr lang="en-US"/>
        </a:p>
      </dgm:t>
    </dgm:pt>
    <dgm:pt modelId="{243D727C-AF34-45E0-9345-EBB291FD579D}">
      <dgm:prSet phldrT="[Text]" custT="1"/>
      <dgm:spPr>
        <a:solidFill>
          <a:srgbClr val="AF3CBE"/>
        </a:solidFill>
      </dgm:spPr>
      <dgm:t>
        <a:bodyPr/>
        <a:lstStyle/>
        <a:p>
          <a:r>
            <a:rPr lang="en-US" sz="1800" b="1"/>
            <a:t>HELP</a:t>
          </a:r>
        </a:p>
        <a:p>
          <a:r>
            <a:rPr lang="en-US" sz="1200"/>
            <a:t>Topics</a:t>
          </a:r>
        </a:p>
        <a:p>
          <a:r>
            <a:rPr lang="en-US" sz="1200"/>
            <a:t>Feedback</a:t>
          </a:r>
        </a:p>
        <a:p>
          <a:r>
            <a:rPr lang="en-US" sz="1200"/>
            <a:t>Training</a:t>
          </a:r>
        </a:p>
        <a:p>
          <a:r>
            <a:rPr lang="en-US" sz="1200"/>
            <a:t>What’s New</a:t>
          </a:r>
        </a:p>
        <a:p>
          <a:endParaRPr lang="en-US" sz="1200"/>
        </a:p>
      </dgm:t>
    </dgm:pt>
    <dgm:pt modelId="{46360556-4479-465C-A27F-668B8D922FA6}" type="parTrans" cxnId="{B1356342-B440-4536-A809-3E0351187E60}">
      <dgm:prSet/>
      <dgm:spPr/>
      <dgm:t>
        <a:bodyPr/>
        <a:lstStyle/>
        <a:p>
          <a:endParaRPr lang="en-US"/>
        </a:p>
      </dgm:t>
    </dgm:pt>
    <dgm:pt modelId="{46F1A872-5410-499E-B447-0241720D13AC}" type="sibTrans" cxnId="{B1356342-B440-4536-A809-3E0351187E60}">
      <dgm:prSet/>
      <dgm:spPr/>
      <dgm:t>
        <a:bodyPr/>
        <a:lstStyle/>
        <a:p>
          <a:endParaRPr lang="en-US"/>
        </a:p>
      </dgm:t>
    </dgm:pt>
    <dgm:pt modelId="{DACC7014-53D1-4E5D-8FB6-BAF307A32F82}" type="pres">
      <dgm:prSet presAssocID="{EFBA80C9-49D6-4318-8755-7D0438D18DB3}" presName="CompostProcess" presStyleCnt="0">
        <dgm:presLayoutVars>
          <dgm:dir/>
          <dgm:resizeHandles val="exact"/>
        </dgm:presLayoutVars>
      </dgm:prSet>
      <dgm:spPr/>
    </dgm:pt>
    <dgm:pt modelId="{816C375C-5EEE-4E13-83FD-E0510560CC3B}" type="pres">
      <dgm:prSet presAssocID="{EFBA80C9-49D6-4318-8755-7D0438D18DB3}" presName="arrow" presStyleLbl="bgShp" presStyleIdx="0" presStyleCnt="1"/>
      <dgm:spPr>
        <a:solidFill>
          <a:schemeClr val="bg1">
            <a:lumMod val="65000"/>
          </a:schemeClr>
        </a:solidFill>
      </dgm:spPr>
    </dgm:pt>
    <dgm:pt modelId="{66D011FB-22A5-4CFA-ABD2-6435A7D0E8D0}" type="pres">
      <dgm:prSet presAssocID="{EFBA80C9-49D6-4318-8755-7D0438D18DB3}" presName="linearProcess" presStyleCnt="0"/>
      <dgm:spPr/>
    </dgm:pt>
    <dgm:pt modelId="{88B46333-A610-429A-BC83-E98887DAE7C4}" type="pres">
      <dgm:prSet presAssocID="{5D192057-01A7-41B8-BA2B-18C393A84931}" presName="textNode" presStyleLbl="node1" presStyleIdx="0" presStyleCnt="3">
        <dgm:presLayoutVars>
          <dgm:bulletEnabled val="1"/>
        </dgm:presLayoutVars>
      </dgm:prSet>
      <dgm:spPr/>
    </dgm:pt>
    <dgm:pt modelId="{5F1275A2-4F33-4696-97D8-3D856B160454}" type="pres">
      <dgm:prSet presAssocID="{713A4B84-AA5B-4911-94B8-4440AADBA06C}" presName="sibTrans" presStyleCnt="0"/>
      <dgm:spPr/>
    </dgm:pt>
    <dgm:pt modelId="{D4695A29-8B0A-45ED-8854-34FB36F7979D}" type="pres">
      <dgm:prSet presAssocID="{243D727C-AF34-45E0-9345-EBB291FD579D}" presName="textNode" presStyleLbl="node1" presStyleIdx="1" presStyleCnt="3">
        <dgm:presLayoutVars>
          <dgm:bulletEnabled val="1"/>
        </dgm:presLayoutVars>
      </dgm:prSet>
      <dgm:spPr/>
    </dgm:pt>
    <dgm:pt modelId="{46D02200-9784-421A-8FCC-A0426D708570}" type="pres">
      <dgm:prSet presAssocID="{46F1A872-5410-499E-B447-0241720D13AC}" presName="sibTrans" presStyleCnt="0"/>
      <dgm:spPr/>
    </dgm:pt>
    <dgm:pt modelId="{CF405C6B-72F3-462A-8471-7971C0F9AD57}" type="pres">
      <dgm:prSet presAssocID="{547674C0-E558-4C7A-A6DC-9C08A089C512}" presName="textNode" presStyleLbl="node1" presStyleIdx="2" presStyleCnt="3" custLinFactNeighborX="839">
        <dgm:presLayoutVars>
          <dgm:bulletEnabled val="1"/>
        </dgm:presLayoutVars>
      </dgm:prSet>
      <dgm:spPr/>
    </dgm:pt>
  </dgm:ptLst>
  <dgm:cxnLst>
    <dgm:cxn modelId="{D467B406-C4B9-4CED-AC95-93BA573CE99D}" type="presOf" srcId="{243D727C-AF34-45E0-9345-EBB291FD579D}" destId="{D4695A29-8B0A-45ED-8854-34FB36F7979D}" srcOrd="0" destOrd="0" presId="urn:microsoft.com/office/officeart/2005/8/layout/hProcess9"/>
    <dgm:cxn modelId="{277BFC5C-408B-4F42-912F-E8890ACC6ABC}" srcId="{EFBA80C9-49D6-4318-8755-7D0438D18DB3}" destId="{5D192057-01A7-41B8-BA2B-18C393A84931}" srcOrd="0" destOrd="0" parTransId="{AFB73EF6-6315-4AC7-B14B-51FF294A637A}" sibTransId="{713A4B84-AA5B-4911-94B8-4440AADBA06C}"/>
    <dgm:cxn modelId="{B1356342-B440-4536-A809-3E0351187E60}" srcId="{EFBA80C9-49D6-4318-8755-7D0438D18DB3}" destId="{243D727C-AF34-45E0-9345-EBB291FD579D}" srcOrd="1" destOrd="0" parTransId="{46360556-4479-465C-A27F-668B8D922FA6}" sibTransId="{46F1A872-5410-499E-B447-0241720D13AC}"/>
    <dgm:cxn modelId="{EC16BB6F-F1BE-4527-AC7C-24E7099E719A}" type="presOf" srcId="{5D192057-01A7-41B8-BA2B-18C393A84931}" destId="{88B46333-A610-429A-BC83-E98887DAE7C4}" srcOrd="0" destOrd="0" presId="urn:microsoft.com/office/officeart/2005/8/layout/hProcess9"/>
    <dgm:cxn modelId="{022E4E73-044C-4CB6-99A7-0DAE0DCD9427}" srcId="{EFBA80C9-49D6-4318-8755-7D0438D18DB3}" destId="{547674C0-E558-4C7A-A6DC-9C08A089C512}" srcOrd="2" destOrd="0" parTransId="{FBC1A0DD-B9D0-4AD9-95BE-8D3C5703B63D}" sibTransId="{F1065D0E-E123-4914-A3BE-E4CF0B01102B}"/>
    <dgm:cxn modelId="{A98BF186-EABF-4D64-A93B-6148F9B09B7E}" type="presOf" srcId="{547674C0-E558-4C7A-A6DC-9C08A089C512}" destId="{CF405C6B-72F3-462A-8471-7971C0F9AD57}" srcOrd="0" destOrd="0" presId="urn:microsoft.com/office/officeart/2005/8/layout/hProcess9"/>
    <dgm:cxn modelId="{D620B4E4-BF59-48CE-964A-72DDB4BB9426}" type="presOf" srcId="{EFBA80C9-49D6-4318-8755-7D0438D18DB3}" destId="{DACC7014-53D1-4E5D-8FB6-BAF307A32F82}" srcOrd="0" destOrd="0" presId="urn:microsoft.com/office/officeart/2005/8/layout/hProcess9"/>
    <dgm:cxn modelId="{5C278E8D-582D-4C3D-9DBA-9D7C94E9E7D5}" type="presParOf" srcId="{DACC7014-53D1-4E5D-8FB6-BAF307A32F82}" destId="{816C375C-5EEE-4E13-83FD-E0510560CC3B}" srcOrd="0" destOrd="0" presId="urn:microsoft.com/office/officeart/2005/8/layout/hProcess9"/>
    <dgm:cxn modelId="{310C52A4-82BB-4FB7-BB72-A18FA2CAFF0B}" type="presParOf" srcId="{DACC7014-53D1-4E5D-8FB6-BAF307A32F82}" destId="{66D011FB-22A5-4CFA-ABD2-6435A7D0E8D0}" srcOrd="1" destOrd="0" presId="urn:microsoft.com/office/officeart/2005/8/layout/hProcess9"/>
    <dgm:cxn modelId="{5ABCEF1E-23F0-43DC-AE18-4890B438E78E}" type="presParOf" srcId="{66D011FB-22A5-4CFA-ABD2-6435A7D0E8D0}" destId="{88B46333-A610-429A-BC83-E98887DAE7C4}" srcOrd="0" destOrd="0" presId="urn:microsoft.com/office/officeart/2005/8/layout/hProcess9"/>
    <dgm:cxn modelId="{399EDF78-7041-4911-9949-3A57A8B8081F}" type="presParOf" srcId="{66D011FB-22A5-4CFA-ABD2-6435A7D0E8D0}" destId="{5F1275A2-4F33-4696-97D8-3D856B160454}" srcOrd="1" destOrd="0" presId="urn:microsoft.com/office/officeart/2005/8/layout/hProcess9"/>
    <dgm:cxn modelId="{F7430C15-808F-40EE-BCB3-2815898074E0}" type="presParOf" srcId="{66D011FB-22A5-4CFA-ABD2-6435A7D0E8D0}" destId="{D4695A29-8B0A-45ED-8854-34FB36F7979D}" srcOrd="2" destOrd="0" presId="urn:microsoft.com/office/officeart/2005/8/layout/hProcess9"/>
    <dgm:cxn modelId="{996E61FD-0B40-4C99-A9B9-5F4FE2D8854C}" type="presParOf" srcId="{66D011FB-22A5-4CFA-ABD2-6435A7D0E8D0}" destId="{46D02200-9784-421A-8FCC-A0426D708570}" srcOrd="3" destOrd="0" presId="urn:microsoft.com/office/officeart/2005/8/layout/hProcess9"/>
    <dgm:cxn modelId="{A3BB7C3E-1681-4CB0-9E66-8FF85F83FB00}" type="presParOf" srcId="{66D011FB-22A5-4CFA-ABD2-6435A7D0E8D0}" destId="{CF405C6B-72F3-462A-8471-7971C0F9AD57}"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6C375C-5EEE-4E13-83FD-E0510560CC3B}">
      <dsp:nvSpPr>
        <dsp:cNvPr id="0" name=""/>
        <dsp:cNvSpPr/>
      </dsp:nvSpPr>
      <dsp:spPr>
        <a:xfrm>
          <a:off x="490655" y="0"/>
          <a:ext cx="5560761" cy="4274726"/>
        </a:xfrm>
        <a:prstGeom prst="rightArrow">
          <a:avLst/>
        </a:prstGeom>
        <a:solidFill>
          <a:schemeClr val="bg1">
            <a:lumMod val="65000"/>
          </a:schemeClr>
        </a:solidFill>
        <a:ln>
          <a:noFill/>
        </a:ln>
        <a:effectLst/>
        <a:scene3d>
          <a:camera prst="orthographicFront"/>
          <a:lightRig rig="threePt" dir="t">
            <a:rot lat="0" lon="0" rev="7500000"/>
          </a:lightRig>
        </a:scene3d>
        <a:sp3d z="-152400" extrusionH="63500" prstMaterial="matte">
          <a:bevelT w="144450" h="6350" prst="relaxedInset"/>
          <a:contourClr>
            <a:schemeClr val="bg1"/>
          </a:contourClr>
        </a:sp3d>
      </dsp:spPr>
      <dsp:style>
        <a:lnRef idx="0">
          <a:scrgbClr r="0" g="0" b="0"/>
        </a:lnRef>
        <a:fillRef idx="3">
          <a:scrgbClr r="0" g="0" b="0"/>
        </a:fillRef>
        <a:effectRef idx="0">
          <a:scrgbClr r="0" g="0" b="0"/>
        </a:effectRef>
        <a:fontRef idx="minor"/>
      </dsp:style>
    </dsp:sp>
    <dsp:sp modelId="{88B46333-A610-429A-BC83-E98887DAE7C4}">
      <dsp:nvSpPr>
        <dsp:cNvPr id="0" name=""/>
        <dsp:cNvSpPr/>
      </dsp:nvSpPr>
      <dsp:spPr>
        <a:xfrm>
          <a:off x="0" y="1282417"/>
          <a:ext cx="1962621" cy="1709890"/>
        </a:xfrm>
        <a:prstGeom prst="roundRect">
          <a:avLst/>
        </a:prstGeom>
        <a:solidFill>
          <a:srgbClr val="AF3CBE"/>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a:t>HOME</a:t>
          </a:r>
        </a:p>
        <a:p>
          <a:pPr marL="0" lvl="0" indent="0" algn="ctr" defTabSz="800100">
            <a:lnSpc>
              <a:spcPct val="90000"/>
            </a:lnSpc>
            <a:spcBef>
              <a:spcPct val="0"/>
            </a:spcBef>
            <a:spcAft>
              <a:spcPct val="35000"/>
            </a:spcAft>
            <a:buNone/>
          </a:pPr>
          <a:r>
            <a:rPr lang="en-US" sz="1200" kern="1200"/>
            <a:t>Formatting</a:t>
          </a:r>
        </a:p>
        <a:p>
          <a:pPr marL="0" lvl="0" indent="0" algn="ctr" defTabSz="800100">
            <a:lnSpc>
              <a:spcPct val="90000"/>
            </a:lnSpc>
            <a:spcBef>
              <a:spcPct val="0"/>
            </a:spcBef>
            <a:spcAft>
              <a:spcPct val="35000"/>
            </a:spcAft>
            <a:buNone/>
          </a:pPr>
          <a:r>
            <a:rPr lang="en-US" sz="1200" kern="1200"/>
            <a:t>Headings</a:t>
          </a:r>
        </a:p>
        <a:p>
          <a:pPr marL="0" lvl="0" indent="0" algn="ctr" defTabSz="800100">
            <a:lnSpc>
              <a:spcPct val="90000"/>
            </a:lnSpc>
            <a:spcBef>
              <a:spcPct val="0"/>
            </a:spcBef>
            <a:spcAft>
              <a:spcPct val="35000"/>
            </a:spcAft>
            <a:buNone/>
          </a:pPr>
          <a:r>
            <a:rPr lang="en-US" sz="1200" kern="1200"/>
            <a:t>Dictate</a:t>
          </a:r>
        </a:p>
        <a:p>
          <a:pPr marL="0" lvl="0" indent="0" algn="ctr" defTabSz="800100">
            <a:lnSpc>
              <a:spcPct val="90000"/>
            </a:lnSpc>
            <a:spcBef>
              <a:spcPct val="0"/>
            </a:spcBef>
            <a:spcAft>
              <a:spcPct val="35000"/>
            </a:spcAft>
            <a:buNone/>
          </a:pPr>
          <a:r>
            <a:rPr lang="en-US" sz="1200" kern="1200"/>
            <a:t>Share</a:t>
          </a:r>
        </a:p>
        <a:p>
          <a:pPr marL="0" lvl="0" indent="0" algn="ctr" defTabSz="800100">
            <a:lnSpc>
              <a:spcPct val="90000"/>
            </a:lnSpc>
            <a:spcBef>
              <a:spcPct val="0"/>
            </a:spcBef>
            <a:spcAft>
              <a:spcPct val="35000"/>
            </a:spcAft>
            <a:buNone/>
          </a:pPr>
          <a:r>
            <a:rPr lang="en-US" sz="1200" b="1" u="sng" kern="1200"/>
            <a:t>Tags</a:t>
          </a:r>
        </a:p>
      </dsp:txBody>
      <dsp:txXfrm>
        <a:off x="83470" y="1365887"/>
        <a:ext cx="1795681" cy="1542950"/>
      </dsp:txXfrm>
    </dsp:sp>
    <dsp:sp modelId="{D4695A29-8B0A-45ED-8854-34FB36F7979D}">
      <dsp:nvSpPr>
        <dsp:cNvPr id="0" name=""/>
        <dsp:cNvSpPr/>
      </dsp:nvSpPr>
      <dsp:spPr>
        <a:xfrm>
          <a:off x="2289725" y="1282417"/>
          <a:ext cx="1962621" cy="1709890"/>
        </a:xfrm>
        <a:prstGeom prst="roundRect">
          <a:avLst/>
        </a:prstGeom>
        <a:solidFill>
          <a:srgbClr val="AF3CBE"/>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a:t>INSERT</a:t>
          </a:r>
        </a:p>
        <a:p>
          <a:pPr marL="0" lvl="0" indent="0" algn="ctr" defTabSz="800100">
            <a:lnSpc>
              <a:spcPct val="90000"/>
            </a:lnSpc>
            <a:spcBef>
              <a:spcPct val="0"/>
            </a:spcBef>
            <a:spcAft>
              <a:spcPct val="35000"/>
            </a:spcAft>
            <a:buNone/>
          </a:pPr>
          <a:r>
            <a:rPr lang="en-US" sz="1200" kern="1200"/>
            <a:t>Tables</a:t>
          </a:r>
        </a:p>
        <a:p>
          <a:pPr marL="0" lvl="0" indent="0" algn="ctr" defTabSz="800100">
            <a:lnSpc>
              <a:spcPct val="90000"/>
            </a:lnSpc>
            <a:spcBef>
              <a:spcPct val="0"/>
            </a:spcBef>
            <a:spcAft>
              <a:spcPct val="35000"/>
            </a:spcAft>
            <a:buNone/>
          </a:pPr>
          <a:r>
            <a:rPr lang="en-US" sz="1200" kern="1200"/>
            <a:t>Files</a:t>
          </a:r>
        </a:p>
        <a:p>
          <a:pPr marL="0" lvl="0" indent="0" algn="ctr" defTabSz="800100">
            <a:lnSpc>
              <a:spcPct val="90000"/>
            </a:lnSpc>
            <a:spcBef>
              <a:spcPct val="0"/>
            </a:spcBef>
            <a:spcAft>
              <a:spcPct val="35000"/>
            </a:spcAft>
            <a:buNone/>
          </a:pPr>
          <a:r>
            <a:rPr lang="en-US" sz="1200" kern="1200"/>
            <a:t>Links</a:t>
          </a:r>
        </a:p>
        <a:p>
          <a:pPr marL="0" lvl="0" indent="0" algn="ctr" defTabSz="800100">
            <a:lnSpc>
              <a:spcPct val="90000"/>
            </a:lnSpc>
            <a:spcBef>
              <a:spcPct val="0"/>
            </a:spcBef>
            <a:spcAft>
              <a:spcPct val="35000"/>
            </a:spcAft>
            <a:buNone/>
          </a:pPr>
          <a:r>
            <a:rPr lang="en-US" sz="1200" kern="1200"/>
            <a:t>Audio/Video</a:t>
          </a:r>
        </a:p>
        <a:p>
          <a:pPr marL="0" lvl="0" indent="0" algn="ctr" defTabSz="800100">
            <a:lnSpc>
              <a:spcPct val="90000"/>
            </a:lnSpc>
            <a:spcBef>
              <a:spcPct val="0"/>
            </a:spcBef>
            <a:spcAft>
              <a:spcPct val="35000"/>
            </a:spcAft>
            <a:buNone/>
          </a:pPr>
          <a:r>
            <a:rPr lang="en-US" sz="1200" b="1" u="sng" kern="1200"/>
            <a:t>Specialized content</a:t>
          </a:r>
          <a:endParaRPr lang="en-US" sz="1300" b="1" u="sng" kern="1200"/>
        </a:p>
      </dsp:txBody>
      <dsp:txXfrm>
        <a:off x="2373195" y="1365887"/>
        <a:ext cx="1795681" cy="1542950"/>
      </dsp:txXfrm>
    </dsp:sp>
    <dsp:sp modelId="{CF405C6B-72F3-462A-8471-7971C0F9AD57}">
      <dsp:nvSpPr>
        <dsp:cNvPr id="0" name=""/>
        <dsp:cNvSpPr/>
      </dsp:nvSpPr>
      <dsp:spPr>
        <a:xfrm>
          <a:off x="4579450" y="1282417"/>
          <a:ext cx="1962621" cy="1709890"/>
        </a:xfrm>
        <a:prstGeom prst="roundRect">
          <a:avLst/>
        </a:prstGeom>
        <a:solidFill>
          <a:srgbClr val="AF3CBE"/>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a:t>DRAW</a:t>
          </a:r>
        </a:p>
        <a:p>
          <a:pPr marL="0" lvl="0" indent="0" algn="ctr" defTabSz="800100">
            <a:lnSpc>
              <a:spcPct val="90000"/>
            </a:lnSpc>
            <a:spcBef>
              <a:spcPct val="0"/>
            </a:spcBef>
            <a:spcAft>
              <a:spcPct val="35000"/>
            </a:spcAft>
            <a:buNone/>
          </a:pPr>
          <a:r>
            <a:rPr lang="en-US" sz="1200" kern="1200"/>
            <a:t>Tools</a:t>
          </a:r>
        </a:p>
        <a:p>
          <a:pPr marL="0" lvl="0" indent="0" algn="ctr" defTabSz="800100">
            <a:lnSpc>
              <a:spcPct val="90000"/>
            </a:lnSpc>
            <a:spcBef>
              <a:spcPct val="0"/>
            </a:spcBef>
            <a:spcAft>
              <a:spcPct val="35000"/>
            </a:spcAft>
            <a:buNone/>
          </a:pPr>
          <a:r>
            <a:rPr lang="en-US" sz="1200" kern="1200"/>
            <a:t>Highlight</a:t>
          </a:r>
        </a:p>
        <a:p>
          <a:pPr marL="0" lvl="0" indent="0" algn="ctr" defTabSz="800100">
            <a:lnSpc>
              <a:spcPct val="90000"/>
            </a:lnSpc>
            <a:spcBef>
              <a:spcPct val="0"/>
            </a:spcBef>
            <a:spcAft>
              <a:spcPct val="35000"/>
            </a:spcAft>
            <a:buNone/>
          </a:pPr>
          <a:r>
            <a:rPr lang="en-US" sz="1200" kern="1200"/>
            <a:t>Shapes</a:t>
          </a:r>
        </a:p>
        <a:p>
          <a:pPr marL="0" lvl="0" indent="0" algn="ctr" defTabSz="800100">
            <a:lnSpc>
              <a:spcPct val="90000"/>
            </a:lnSpc>
            <a:spcBef>
              <a:spcPct val="0"/>
            </a:spcBef>
            <a:spcAft>
              <a:spcPct val="35000"/>
            </a:spcAft>
            <a:buNone/>
          </a:pPr>
          <a:r>
            <a:rPr lang="en-US" sz="1200" kern="1200"/>
            <a:t>Ruler</a:t>
          </a:r>
        </a:p>
        <a:p>
          <a:pPr marL="0" lvl="0" indent="0" algn="ctr" defTabSz="800100">
            <a:lnSpc>
              <a:spcPct val="90000"/>
            </a:lnSpc>
            <a:spcBef>
              <a:spcPct val="0"/>
            </a:spcBef>
            <a:spcAft>
              <a:spcPct val="35000"/>
            </a:spcAft>
            <a:buNone/>
          </a:pPr>
          <a:r>
            <a:rPr lang="en-US" sz="1200" b="1" u="sng" kern="1200"/>
            <a:t>Math</a:t>
          </a:r>
        </a:p>
      </dsp:txBody>
      <dsp:txXfrm>
        <a:off x="4662920" y="1365887"/>
        <a:ext cx="1795681" cy="15429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6C375C-5EEE-4E13-83FD-E0510560CC3B}">
      <dsp:nvSpPr>
        <dsp:cNvPr id="0" name=""/>
        <dsp:cNvSpPr/>
      </dsp:nvSpPr>
      <dsp:spPr>
        <a:xfrm>
          <a:off x="490655" y="0"/>
          <a:ext cx="5560761" cy="4274726"/>
        </a:xfrm>
        <a:prstGeom prst="rightArrow">
          <a:avLst/>
        </a:prstGeom>
        <a:solidFill>
          <a:schemeClr val="bg1">
            <a:lumMod val="65000"/>
          </a:schemeClr>
        </a:solidFill>
        <a:ln>
          <a:noFill/>
        </a:ln>
        <a:effectLst/>
        <a:scene3d>
          <a:camera prst="orthographicFront"/>
          <a:lightRig rig="threePt" dir="t">
            <a:rot lat="0" lon="0" rev="7500000"/>
          </a:lightRig>
        </a:scene3d>
        <a:sp3d z="-152400" extrusionH="63500" prstMaterial="matte">
          <a:bevelT w="144450" h="6350" prst="relaxedInset"/>
          <a:contourClr>
            <a:schemeClr val="bg1"/>
          </a:contourClr>
        </a:sp3d>
      </dsp:spPr>
      <dsp:style>
        <a:lnRef idx="0">
          <a:scrgbClr r="0" g="0" b="0"/>
        </a:lnRef>
        <a:fillRef idx="3">
          <a:scrgbClr r="0" g="0" b="0"/>
        </a:fillRef>
        <a:effectRef idx="0">
          <a:scrgbClr r="0" g="0" b="0"/>
        </a:effectRef>
        <a:fontRef idx="minor"/>
      </dsp:style>
    </dsp:sp>
    <dsp:sp modelId="{88B46333-A610-429A-BC83-E98887DAE7C4}">
      <dsp:nvSpPr>
        <dsp:cNvPr id="0" name=""/>
        <dsp:cNvSpPr/>
      </dsp:nvSpPr>
      <dsp:spPr>
        <a:xfrm>
          <a:off x="2146" y="1282417"/>
          <a:ext cx="1997180" cy="1709890"/>
        </a:xfrm>
        <a:prstGeom prst="roundRect">
          <a:avLst/>
        </a:prstGeom>
        <a:solidFill>
          <a:srgbClr val="AF3CBE"/>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a:t>VIEW</a:t>
          </a:r>
        </a:p>
        <a:p>
          <a:pPr marL="0" lvl="0" indent="0" algn="ctr" defTabSz="800100">
            <a:lnSpc>
              <a:spcPct val="90000"/>
            </a:lnSpc>
            <a:spcBef>
              <a:spcPct val="0"/>
            </a:spcBef>
            <a:spcAft>
              <a:spcPct val="35000"/>
            </a:spcAft>
            <a:buNone/>
          </a:pPr>
          <a:r>
            <a:rPr lang="en-US" sz="1200" kern="1200"/>
            <a:t>Immersive Reader</a:t>
          </a:r>
        </a:p>
        <a:p>
          <a:pPr marL="0" lvl="0" indent="0" algn="ctr" defTabSz="800100">
            <a:lnSpc>
              <a:spcPct val="90000"/>
            </a:lnSpc>
            <a:spcBef>
              <a:spcPct val="0"/>
            </a:spcBef>
            <a:spcAft>
              <a:spcPct val="35000"/>
            </a:spcAft>
            <a:buNone/>
          </a:pPr>
          <a:r>
            <a:rPr lang="en-US" sz="1200" kern="1200"/>
            <a:t>Page Color</a:t>
          </a:r>
        </a:p>
        <a:p>
          <a:pPr marL="0" lvl="0" indent="0" algn="ctr" defTabSz="800100">
            <a:lnSpc>
              <a:spcPct val="90000"/>
            </a:lnSpc>
            <a:spcBef>
              <a:spcPct val="0"/>
            </a:spcBef>
            <a:spcAft>
              <a:spcPct val="35000"/>
            </a:spcAft>
            <a:buNone/>
          </a:pPr>
          <a:r>
            <a:rPr lang="en-US" sz="1200" kern="1200"/>
            <a:t>Rule Lines</a:t>
          </a:r>
        </a:p>
        <a:p>
          <a:pPr marL="0" lvl="0" indent="0" algn="ctr" defTabSz="800100">
            <a:lnSpc>
              <a:spcPct val="90000"/>
            </a:lnSpc>
            <a:spcBef>
              <a:spcPct val="0"/>
            </a:spcBef>
            <a:spcAft>
              <a:spcPct val="35000"/>
            </a:spcAft>
            <a:buNone/>
          </a:pPr>
          <a:r>
            <a:rPr lang="en-US" sz="1200" kern="1200"/>
            <a:t>Translate</a:t>
          </a:r>
        </a:p>
        <a:p>
          <a:pPr marL="0" lvl="0" indent="0" algn="ctr" defTabSz="800100">
            <a:lnSpc>
              <a:spcPct val="90000"/>
            </a:lnSpc>
            <a:spcBef>
              <a:spcPct val="0"/>
            </a:spcBef>
            <a:spcAft>
              <a:spcPct val="35000"/>
            </a:spcAft>
            <a:buNone/>
          </a:pPr>
          <a:r>
            <a:rPr lang="en-US" sz="1200" b="1" u="sng" kern="1200"/>
            <a:t>Replay</a:t>
          </a:r>
        </a:p>
      </dsp:txBody>
      <dsp:txXfrm>
        <a:off x="85616" y="1365887"/>
        <a:ext cx="1830240" cy="1542950"/>
      </dsp:txXfrm>
    </dsp:sp>
    <dsp:sp modelId="{D4695A29-8B0A-45ED-8854-34FB36F7979D}">
      <dsp:nvSpPr>
        <dsp:cNvPr id="0" name=""/>
        <dsp:cNvSpPr/>
      </dsp:nvSpPr>
      <dsp:spPr>
        <a:xfrm>
          <a:off x="2272445" y="1282417"/>
          <a:ext cx="1997180" cy="1709890"/>
        </a:xfrm>
        <a:prstGeom prst="roundRect">
          <a:avLst/>
        </a:prstGeom>
        <a:solidFill>
          <a:srgbClr val="AF3CBE"/>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a:t>HELP</a:t>
          </a:r>
        </a:p>
        <a:p>
          <a:pPr marL="0" lvl="0" indent="0" algn="ctr" defTabSz="800100">
            <a:lnSpc>
              <a:spcPct val="90000"/>
            </a:lnSpc>
            <a:spcBef>
              <a:spcPct val="0"/>
            </a:spcBef>
            <a:spcAft>
              <a:spcPct val="35000"/>
            </a:spcAft>
            <a:buNone/>
          </a:pPr>
          <a:r>
            <a:rPr lang="en-US" sz="1200" kern="1200"/>
            <a:t>Topics</a:t>
          </a:r>
        </a:p>
        <a:p>
          <a:pPr marL="0" lvl="0" indent="0" algn="ctr" defTabSz="800100">
            <a:lnSpc>
              <a:spcPct val="90000"/>
            </a:lnSpc>
            <a:spcBef>
              <a:spcPct val="0"/>
            </a:spcBef>
            <a:spcAft>
              <a:spcPct val="35000"/>
            </a:spcAft>
            <a:buNone/>
          </a:pPr>
          <a:r>
            <a:rPr lang="en-US" sz="1200" kern="1200"/>
            <a:t>Feedback</a:t>
          </a:r>
        </a:p>
        <a:p>
          <a:pPr marL="0" lvl="0" indent="0" algn="ctr" defTabSz="800100">
            <a:lnSpc>
              <a:spcPct val="90000"/>
            </a:lnSpc>
            <a:spcBef>
              <a:spcPct val="0"/>
            </a:spcBef>
            <a:spcAft>
              <a:spcPct val="35000"/>
            </a:spcAft>
            <a:buNone/>
          </a:pPr>
          <a:r>
            <a:rPr lang="en-US" sz="1200" kern="1200"/>
            <a:t>Training</a:t>
          </a:r>
        </a:p>
        <a:p>
          <a:pPr marL="0" lvl="0" indent="0" algn="ctr" defTabSz="800100">
            <a:lnSpc>
              <a:spcPct val="90000"/>
            </a:lnSpc>
            <a:spcBef>
              <a:spcPct val="0"/>
            </a:spcBef>
            <a:spcAft>
              <a:spcPct val="35000"/>
            </a:spcAft>
            <a:buNone/>
          </a:pPr>
          <a:r>
            <a:rPr lang="en-US" sz="1200" kern="1200"/>
            <a:t>What’s New</a:t>
          </a:r>
        </a:p>
        <a:p>
          <a:pPr marL="0" lvl="0" indent="0" algn="ctr" defTabSz="800100">
            <a:lnSpc>
              <a:spcPct val="90000"/>
            </a:lnSpc>
            <a:spcBef>
              <a:spcPct val="0"/>
            </a:spcBef>
            <a:spcAft>
              <a:spcPct val="35000"/>
            </a:spcAft>
            <a:buNone/>
          </a:pPr>
          <a:endParaRPr lang="en-US" sz="1200" kern="1200"/>
        </a:p>
      </dsp:txBody>
      <dsp:txXfrm>
        <a:off x="2355915" y="1365887"/>
        <a:ext cx="1830240" cy="1542950"/>
      </dsp:txXfrm>
    </dsp:sp>
    <dsp:sp modelId="{CF405C6B-72F3-462A-8471-7971C0F9AD57}">
      <dsp:nvSpPr>
        <dsp:cNvPr id="0" name=""/>
        <dsp:cNvSpPr/>
      </dsp:nvSpPr>
      <dsp:spPr>
        <a:xfrm>
          <a:off x="4544891" y="1282417"/>
          <a:ext cx="1997180" cy="1709890"/>
        </a:xfrm>
        <a:prstGeom prst="roundRect">
          <a:avLst/>
        </a:prstGeom>
        <a:solidFill>
          <a:srgbClr val="AF3CBE"/>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a:t>CLASS NOTEBOOK</a:t>
          </a:r>
        </a:p>
        <a:p>
          <a:pPr marL="0" lvl="0" indent="0" algn="ctr" defTabSz="800100">
            <a:lnSpc>
              <a:spcPct val="90000"/>
            </a:lnSpc>
            <a:spcBef>
              <a:spcPct val="0"/>
            </a:spcBef>
            <a:spcAft>
              <a:spcPct val="35000"/>
            </a:spcAft>
            <a:buNone/>
          </a:pPr>
          <a:r>
            <a:rPr lang="en-US" sz="1200" kern="1200"/>
            <a:t>Add-In</a:t>
          </a:r>
        </a:p>
        <a:p>
          <a:pPr marL="0" lvl="0" indent="0" algn="ctr" defTabSz="800100">
            <a:lnSpc>
              <a:spcPct val="90000"/>
            </a:lnSpc>
            <a:spcBef>
              <a:spcPct val="0"/>
            </a:spcBef>
            <a:spcAft>
              <a:spcPct val="35000"/>
            </a:spcAft>
            <a:buNone/>
          </a:pPr>
          <a:r>
            <a:rPr lang="en-US" sz="1200" kern="1200"/>
            <a:t>Distribute Content</a:t>
          </a:r>
        </a:p>
        <a:p>
          <a:pPr marL="0" lvl="0" indent="0" algn="ctr" defTabSz="800100">
            <a:lnSpc>
              <a:spcPct val="90000"/>
            </a:lnSpc>
            <a:spcBef>
              <a:spcPct val="0"/>
            </a:spcBef>
            <a:spcAft>
              <a:spcPct val="35000"/>
            </a:spcAft>
            <a:buNone/>
          </a:pPr>
          <a:r>
            <a:rPr lang="en-US" sz="1200" kern="1200"/>
            <a:t>Assign/Review Work</a:t>
          </a:r>
        </a:p>
        <a:p>
          <a:pPr marL="0" lvl="0" indent="0" algn="ctr" defTabSz="800100">
            <a:lnSpc>
              <a:spcPct val="90000"/>
            </a:lnSpc>
            <a:spcBef>
              <a:spcPct val="0"/>
            </a:spcBef>
            <a:spcAft>
              <a:spcPct val="35000"/>
            </a:spcAft>
            <a:buNone/>
          </a:pPr>
          <a:r>
            <a:rPr lang="en-US" sz="1200" kern="1200"/>
            <a:t>Manage</a:t>
          </a:r>
        </a:p>
      </dsp:txBody>
      <dsp:txXfrm>
        <a:off x="4628361" y="1365887"/>
        <a:ext cx="1830240" cy="154295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6C375C-5EEE-4E13-83FD-E0510560CC3B}">
      <dsp:nvSpPr>
        <dsp:cNvPr id="0" name=""/>
        <dsp:cNvSpPr/>
      </dsp:nvSpPr>
      <dsp:spPr>
        <a:xfrm>
          <a:off x="490655" y="0"/>
          <a:ext cx="5560761" cy="4274726"/>
        </a:xfrm>
        <a:prstGeom prst="rightArrow">
          <a:avLst/>
        </a:prstGeom>
        <a:solidFill>
          <a:schemeClr val="bg1">
            <a:lumMod val="65000"/>
          </a:schemeClr>
        </a:solidFill>
        <a:ln>
          <a:noFill/>
        </a:ln>
        <a:effectLst/>
        <a:scene3d>
          <a:camera prst="orthographicFront"/>
          <a:lightRig rig="threePt" dir="t">
            <a:rot lat="0" lon="0" rev="7500000"/>
          </a:lightRig>
        </a:scene3d>
        <a:sp3d z="-152400" extrusionH="63500" prstMaterial="matte">
          <a:bevelT w="144450" h="6350" prst="relaxedInset"/>
          <a:contourClr>
            <a:schemeClr val="bg1"/>
          </a:contourClr>
        </a:sp3d>
      </dsp:spPr>
      <dsp:style>
        <a:lnRef idx="0">
          <a:scrgbClr r="0" g="0" b="0"/>
        </a:lnRef>
        <a:fillRef idx="3">
          <a:scrgbClr r="0" g="0" b="0"/>
        </a:fillRef>
        <a:effectRef idx="0">
          <a:scrgbClr r="0" g="0" b="0"/>
        </a:effectRef>
        <a:fontRef idx="minor"/>
      </dsp:style>
    </dsp:sp>
    <dsp:sp modelId="{88B46333-A610-429A-BC83-E98887DAE7C4}">
      <dsp:nvSpPr>
        <dsp:cNvPr id="0" name=""/>
        <dsp:cNvSpPr/>
      </dsp:nvSpPr>
      <dsp:spPr>
        <a:xfrm>
          <a:off x="2146" y="1282417"/>
          <a:ext cx="1997180" cy="1709890"/>
        </a:xfrm>
        <a:prstGeom prst="roundRect">
          <a:avLst/>
        </a:prstGeom>
        <a:solidFill>
          <a:srgbClr val="AF3CBE"/>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a:t>VIEW</a:t>
          </a:r>
        </a:p>
        <a:p>
          <a:pPr marL="0" lvl="0" indent="0" algn="ctr" defTabSz="800100">
            <a:lnSpc>
              <a:spcPct val="90000"/>
            </a:lnSpc>
            <a:spcBef>
              <a:spcPct val="0"/>
            </a:spcBef>
            <a:spcAft>
              <a:spcPct val="35000"/>
            </a:spcAft>
            <a:buNone/>
          </a:pPr>
          <a:r>
            <a:rPr lang="en-US" sz="1200" kern="1200"/>
            <a:t>Immersive Reader</a:t>
          </a:r>
        </a:p>
        <a:p>
          <a:pPr marL="0" lvl="0" indent="0" algn="ctr" defTabSz="800100">
            <a:lnSpc>
              <a:spcPct val="90000"/>
            </a:lnSpc>
            <a:spcBef>
              <a:spcPct val="0"/>
            </a:spcBef>
            <a:spcAft>
              <a:spcPct val="35000"/>
            </a:spcAft>
            <a:buNone/>
          </a:pPr>
          <a:r>
            <a:rPr lang="en-US" sz="1200" kern="1200"/>
            <a:t>Page Color</a:t>
          </a:r>
        </a:p>
        <a:p>
          <a:pPr marL="0" lvl="0" indent="0" algn="ctr" defTabSz="800100">
            <a:lnSpc>
              <a:spcPct val="90000"/>
            </a:lnSpc>
            <a:spcBef>
              <a:spcPct val="0"/>
            </a:spcBef>
            <a:spcAft>
              <a:spcPct val="35000"/>
            </a:spcAft>
            <a:buNone/>
          </a:pPr>
          <a:r>
            <a:rPr lang="en-US" sz="1200" kern="1200"/>
            <a:t>Rule Lines</a:t>
          </a:r>
        </a:p>
        <a:p>
          <a:pPr marL="0" lvl="0" indent="0" algn="ctr" defTabSz="800100">
            <a:lnSpc>
              <a:spcPct val="90000"/>
            </a:lnSpc>
            <a:spcBef>
              <a:spcPct val="0"/>
            </a:spcBef>
            <a:spcAft>
              <a:spcPct val="35000"/>
            </a:spcAft>
            <a:buNone/>
          </a:pPr>
          <a:r>
            <a:rPr lang="en-US" sz="1200" kern="1200"/>
            <a:t>Translate</a:t>
          </a:r>
        </a:p>
        <a:p>
          <a:pPr marL="0" lvl="0" indent="0" algn="ctr" defTabSz="800100">
            <a:lnSpc>
              <a:spcPct val="90000"/>
            </a:lnSpc>
            <a:spcBef>
              <a:spcPct val="0"/>
            </a:spcBef>
            <a:spcAft>
              <a:spcPct val="35000"/>
            </a:spcAft>
            <a:buNone/>
          </a:pPr>
          <a:r>
            <a:rPr lang="en-US" sz="1200" b="1" u="sng" kern="1200"/>
            <a:t>Replay</a:t>
          </a:r>
        </a:p>
      </dsp:txBody>
      <dsp:txXfrm>
        <a:off x="85616" y="1365887"/>
        <a:ext cx="1830240" cy="1542950"/>
      </dsp:txXfrm>
    </dsp:sp>
    <dsp:sp modelId="{D4695A29-8B0A-45ED-8854-34FB36F7979D}">
      <dsp:nvSpPr>
        <dsp:cNvPr id="0" name=""/>
        <dsp:cNvSpPr/>
      </dsp:nvSpPr>
      <dsp:spPr>
        <a:xfrm>
          <a:off x="2272445" y="1282417"/>
          <a:ext cx="1997180" cy="1709890"/>
        </a:xfrm>
        <a:prstGeom prst="roundRect">
          <a:avLst/>
        </a:prstGeom>
        <a:solidFill>
          <a:srgbClr val="AF3CBE"/>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a:t>HELP</a:t>
          </a:r>
        </a:p>
        <a:p>
          <a:pPr marL="0" lvl="0" indent="0" algn="ctr" defTabSz="800100">
            <a:lnSpc>
              <a:spcPct val="90000"/>
            </a:lnSpc>
            <a:spcBef>
              <a:spcPct val="0"/>
            </a:spcBef>
            <a:spcAft>
              <a:spcPct val="35000"/>
            </a:spcAft>
            <a:buNone/>
          </a:pPr>
          <a:r>
            <a:rPr lang="en-US" sz="1200" kern="1200"/>
            <a:t>Topics</a:t>
          </a:r>
        </a:p>
        <a:p>
          <a:pPr marL="0" lvl="0" indent="0" algn="ctr" defTabSz="800100">
            <a:lnSpc>
              <a:spcPct val="90000"/>
            </a:lnSpc>
            <a:spcBef>
              <a:spcPct val="0"/>
            </a:spcBef>
            <a:spcAft>
              <a:spcPct val="35000"/>
            </a:spcAft>
            <a:buNone/>
          </a:pPr>
          <a:r>
            <a:rPr lang="en-US" sz="1200" kern="1200"/>
            <a:t>Feedback</a:t>
          </a:r>
        </a:p>
        <a:p>
          <a:pPr marL="0" lvl="0" indent="0" algn="ctr" defTabSz="800100">
            <a:lnSpc>
              <a:spcPct val="90000"/>
            </a:lnSpc>
            <a:spcBef>
              <a:spcPct val="0"/>
            </a:spcBef>
            <a:spcAft>
              <a:spcPct val="35000"/>
            </a:spcAft>
            <a:buNone/>
          </a:pPr>
          <a:r>
            <a:rPr lang="en-US" sz="1200" kern="1200"/>
            <a:t>Training</a:t>
          </a:r>
        </a:p>
        <a:p>
          <a:pPr marL="0" lvl="0" indent="0" algn="ctr" defTabSz="800100">
            <a:lnSpc>
              <a:spcPct val="90000"/>
            </a:lnSpc>
            <a:spcBef>
              <a:spcPct val="0"/>
            </a:spcBef>
            <a:spcAft>
              <a:spcPct val="35000"/>
            </a:spcAft>
            <a:buNone/>
          </a:pPr>
          <a:r>
            <a:rPr lang="en-US" sz="1200" kern="1200"/>
            <a:t>What’s New</a:t>
          </a:r>
        </a:p>
        <a:p>
          <a:pPr marL="0" lvl="0" indent="0" algn="ctr" defTabSz="800100">
            <a:lnSpc>
              <a:spcPct val="90000"/>
            </a:lnSpc>
            <a:spcBef>
              <a:spcPct val="0"/>
            </a:spcBef>
            <a:spcAft>
              <a:spcPct val="35000"/>
            </a:spcAft>
            <a:buNone/>
          </a:pPr>
          <a:endParaRPr lang="en-US" sz="1200" kern="1200"/>
        </a:p>
      </dsp:txBody>
      <dsp:txXfrm>
        <a:off x="2355915" y="1365887"/>
        <a:ext cx="1830240" cy="1542950"/>
      </dsp:txXfrm>
    </dsp:sp>
    <dsp:sp modelId="{CF405C6B-72F3-462A-8471-7971C0F9AD57}">
      <dsp:nvSpPr>
        <dsp:cNvPr id="0" name=""/>
        <dsp:cNvSpPr/>
      </dsp:nvSpPr>
      <dsp:spPr>
        <a:xfrm>
          <a:off x="4544891" y="1282417"/>
          <a:ext cx="1997180" cy="1709890"/>
        </a:xfrm>
        <a:prstGeom prst="roundRect">
          <a:avLst/>
        </a:prstGeom>
        <a:solidFill>
          <a:srgbClr val="AF3CBE"/>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a:t>CLASS NOTEBOOK</a:t>
          </a:r>
        </a:p>
        <a:p>
          <a:pPr marL="0" lvl="0" indent="0" algn="ctr" defTabSz="800100">
            <a:lnSpc>
              <a:spcPct val="90000"/>
            </a:lnSpc>
            <a:spcBef>
              <a:spcPct val="0"/>
            </a:spcBef>
            <a:spcAft>
              <a:spcPct val="35000"/>
            </a:spcAft>
            <a:buNone/>
          </a:pPr>
          <a:r>
            <a:rPr lang="en-US" sz="1200" kern="1200"/>
            <a:t>Add-In</a:t>
          </a:r>
        </a:p>
        <a:p>
          <a:pPr marL="0" lvl="0" indent="0" algn="ctr" defTabSz="800100">
            <a:lnSpc>
              <a:spcPct val="90000"/>
            </a:lnSpc>
            <a:spcBef>
              <a:spcPct val="0"/>
            </a:spcBef>
            <a:spcAft>
              <a:spcPct val="35000"/>
            </a:spcAft>
            <a:buNone/>
          </a:pPr>
          <a:r>
            <a:rPr lang="en-US" sz="1200" kern="1200"/>
            <a:t>Distribute Content</a:t>
          </a:r>
        </a:p>
        <a:p>
          <a:pPr marL="0" lvl="0" indent="0" algn="ctr" defTabSz="800100">
            <a:lnSpc>
              <a:spcPct val="90000"/>
            </a:lnSpc>
            <a:spcBef>
              <a:spcPct val="0"/>
            </a:spcBef>
            <a:spcAft>
              <a:spcPct val="35000"/>
            </a:spcAft>
            <a:buNone/>
          </a:pPr>
          <a:r>
            <a:rPr lang="en-US" sz="1200" kern="1200"/>
            <a:t>Assign/Review Work</a:t>
          </a:r>
        </a:p>
        <a:p>
          <a:pPr marL="0" lvl="0" indent="0" algn="ctr" defTabSz="800100">
            <a:lnSpc>
              <a:spcPct val="90000"/>
            </a:lnSpc>
            <a:spcBef>
              <a:spcPct val="0"/>
            </a:spcBef>
            <a:spcAft>
              <a:spcPct val="35000"/>
            </a:spcAft>
            <a:buNone/>
          </a:pPr>
          <a:r>
            <a:rPr lang="en-US" sz="1200" kern="1200"/>
            <a:t>Manage</a:t>
          </a:r>
        </a:p>
      </dsp:txBody>
      <dsp:txXfrm>
        <a:off x="4628361" y="1365887"/>
        <a:ext cx="1830240" cy="1542950"/>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8B8320-7D72-48FF-846F-7E06D390913D}" type="datetimeFigureOut">
              <a:rPr lang="en-US" smtClean="0"/>
              <a:t>4/17/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8A57F9-F8B2-4AF1-BB1A-9C083FB51193}" type="slidenum">
              <a:rPr lang="en-US" smtClean="0"/>
              <a:t>‹#›</a:t>
            </a:fld>
            <a:endParaRPr lang="en-US"/>
          </a:p>
        </p:txBody>
      </p:sp>
    </p:spTree>
    <p:extLst>
      <p:ext uri="{BB962C8B-B14F-4D97-AF65-F5344CB8AC3E}">
        <p14:creationId xmlns:p14="http://schemas.microsoft.com/office/powerpoint/2010/main" val="16848302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8A57F9-F8B2-4AF1-BB1A-9C083FB51193}" type="slidenum">
              <a:rPr lang="en-US" smtClean="0"/>
              <a:t>3</a:t>
            </a:fld>
            <a:endParaRPr lang="en-US"/>
          </a:p>
        </p:txBody>
      </p:sp>
    </p:spTree>
    <p:extLst>
      <p:ext uri="{BB962C8B-B14F-4D97-AF65-F5344CB8AC3E}">
        <p14:creationId xmlns:p14="http://schemas.microsoft.com/office/powerpoint/2010/main" val="2052792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10"/>
          </p:nvPr>
        </p:nvSpPr>
        <p:spPr/>
        <p:txBody>
          <a:bodyPr/>
          <a:lstStyle/>
          <a:p>
            <a:fld id="{31B7EB42-344B-4E34-9F63-E0044542ED2B}" type="slidenum">
              <a:rPr lang="en-US" smtClean="0"/>
              <a:t>13</a:t>
            </a:fld>
            <a:endParaRPr lang="en-US"/>
          </a:p>
        </p:txBody>
      </p:sp>
    </p:spTree>
    <p:extLst>
      <p:ext uri="{BB962C8B-B14F-4D97-AF65-F5344CB8AC3E}">
        <p14:creationId xmlns:p14="http://schemas.microsoft.com/office/powerpoint/2010/main" val="27192670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matches with the </a:t>
            </a:r>
            <a:r>
              <a:rPr lang="en-US" b="1" dirty="0"/>
              <a:t>Student collaboration</a:t>
            </a:r>
            <a:r>
              <a:rPr lang="en-US" b="1" baseline="0" dirty="0"/>
              <a:t> in Class Notebook in Teams: Situation and demonstration </a:t>
            </a:r>
            <a:r>
              <a:rPr lang="en-US" b="1" dirty="0"/>
              <a:t> </a:t>
            </a:r>
            <a:r>
              <a:rPr lang="en-US" dirty="0"/>
              <a:t>section of the Presentation plan</a:t>
            </a:r>
            <a:r>
              <a:rPr lang="en-US" baseline="0" dirty="0"/>
              <a:t>.</a:t>
            </a:r>
            <a:endParaRPr lang="en-US" dirty="0"/>
          </a:p>
          <a:p>
            <a:endParaRPr lang="en-US" dirty="0">
              <a:cs typeface="Calibri"/>
            </a:endParaRPr>
          </a:p>
          <a:p>
            <a:r>
              <a:rPr lang="en-US" b="1" u="sng" dirty="0"/>
              <a:t>Say:</a:t>
            </a:r>
            <a:endParaRPr lang="en-US" b="0" u="none" dirty="0"/>
          </a:p>
          <a:p>
            <a:pPr marL="171450" indent="-171450">
              <a:buFont typeface="Arial" panose="020B0604020202020204" pitchFamily="34" charset="0"/>
              <a:buChar char="•"/>
            </a:pPr>
            <a:r>
              <a:rPr lang="en-US" sz="1200" kern="1200" dirty="0">
                <a:solidFill>
                  <a:schemeClr val="tx1"/>
                </a:solidFill>
                <a:effectLst/>
                <a:latin typeface="+mn-lt"/>
                <a:ea typeface="+mn-ea"/>
                <a:cs typeface="+mn-cs"/>
              </a:rPr>
              <a:t>“Now that you know where all the student work spaces are, let's see some examples of how real students use these spaces to complete the geometry assignment.”</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In this screenshot, we see that our example student, Adele, has gone into the Class Notes section of her private space and brainstormed shapes in nature ideas for the assignment.” </a:t>
            </a:r>
            <a:r>
              <a:rPr lang="en-US" sz="1200" i="1" kern="1200" dirty="0">
                <a:solidFill>
                  <a:schemeClr val="tx1"/>
                </a:solidFill>
                <a:effectLst/>
                <a:latin typeface="+mn-lt"/>
                <a:ea typeface="+mn-ea"/>
                <a:cs typeface="+mn-cs"/>
              </a:rPr>
              <a:t>(Click mouse to show)</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She’s taken notes by hand via a Stylus, and has even drawn a lovely little starfish.”</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Remember, only she and her teacher can see this.”</a:t>
            </a:r>
          </a:p>
          <a:p>
            <a:pPr marL="0" indent="0">
              <a:buFont typeface="Arial" panose="020B0604020202020204" pitchFamily="34" charset="0"/>
              <a:buNone/>
            </a:pPr>
            <a:endParaRPr lang="en-US" dirty="0">
              <a:solidFill>
                <a:srgbClr val="FFFFFF"/>
              </a:solidFill>
            </a:endParaRPr>
          </a:p>
          <a:p>
            <a:pPr marL="0" indent="0">
              <a:buFont typeface="Arial" panose="020B0604020202020204" pitchFamily="34" charset="0"/>
              <a:buNone/>
            </a:pPr>
            <a:r>
              <a:rPr lang="en-US" b="1" u="sng" dirty="0"/>
              <a:t>Do this:</a:t>
            </a:r>
          </a:p>
          <a:p>
            <a:pPr marL="171450" indent="-171450">
              <a:buFont typeface="Arial" panose="020B0604020202020204" pitchFamily="34" charset="0"/>
              <a:buChar char="•"/>
            </a:pPr>
            <a:r>
              <a:rPr lang="en-US" dirty="0"/>
              <a:t>Point to the examples of student collaboration in Class Notebook in Teams. Highlight features you’ve covered in the course so far.</a:t>
            </a:r>
          </a:p>
          <a:p>
            <a:pPr marL="0" indent="0">
              <a:buFont typeface="Arial" panose="020B0604020202020204" pitchFamily="34" charset="0"/>
              <a:buNone/>
            </a:pPr>
            <a:endParaRPr lang="en-US" dirty="0"/>
          </a:p>
          <a:p>
            <a:pPr marL="0" indent="0">
              <a:buFont typeface="Arial" panose="020B0604020202020204" pitchFamily="34" charset="0"/>
              <a:buNone/>
            </a:pPr>
            <a:r>
              <a:rPr lang="en-US" b="1" dirty="0"/>
              <a:t>Time frame: 30 seconds</a:t>
            </a:r>
          </a:p>
        </p:txBody>
      </p:sp>
      <p:sp>
        <p:nvSpPr>
          <p:cNvPr id="4" name="Slide Number Placeholder 3"/>
          <p:cNvSpPr>
            <a:spLocks noGrp="1"/>
          </p:cNvSpPr>
          <p:nvPr>
            <p:ph type="sldNum" sz="quarter" idx="10"/>
          </p:nvPr>
        </p:nvSpPr>
        <p:spPr/>
        <p:txBody>
          <a:bodyPr/>
          <a:lstStyle/>
          <a:p>
            <a:fld id="{31B7EB42-344B-4E34-9F63-E0044542ED2B}" type="slidenum">
              <a:rPr lang="en-US" smtClean="0"/>
              <a:t>21</a:t>
            </a:fld>
            <a:endParaRPr lang="en-US"/>
          </a:p>
        </p:txBody>
      </p:sp>
    </p:spTree>
    <p:extLst>
      <p:ext uri="{BB962C8B-B14F-4D97-AF65-F5344CB8AC3E}">
        <p14:creationId xmlns:p14="http://schemas.microsoft.com/office/powerpoint/2010/main" val="1993388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matches with the </a:t>
            </a:r>
            <a:r>
              <a:rPr lang="en-US" b="1" dirty="0"/>
              <a:t>Student collaboration</a:t>
            </a:r>
            <a:r>
              <a:rPr lang="en-US" b="1" baseline="0" dirty="0"/>
              <a:t> in Class Notebook in Teams: Situation and demonstration </a:t>
            </a:r>
            <a:r>
              <a:rPr lang="en-US" b="1" dirty="0"/>
              <a:t> </a:t>
            </a:r>
            <a:r>
              <a:rPr lang="en-US" dirty="0"/>
              <a:t>section of the Presentation plan</a:t>
            </a:r>
            <a:r>
              <a:rPr lang="en-US" baseline="0" dirty="0"/>
              <a:t>.</a:t>
            </a:r>
            <a:endParaRPr lang="en-US" b="1" dirty="0"/>
          </a:p>
          <a:p>
            <a:endParaRPr lang="en-US" dirty="0">
              <a:cs typeface="Calibri"/>
            </a:endParaRPr>
          </a:p>
          <a:p>
            <a:r>
              <a:rPr lang="en-US" b="1" u="sng" dirty="0"/>
              <a:t>Say:</a:t>
            </a:r>
            <a:endParaRPr lang="en-US" b="0" u="none" dirty="0"/>
          </a:p>
          <a:p>
            <a:pPr marL="171450" indent="-171450">
              <a:buFont typeface="Arial" panose="020B0604020202020204" pitchFamily="34" charset="0"/>
              <a:buChar char="•"/>
            </a:pPr>
            <a:r>
              <a:rPr lang="en-US" sz="1200" kern="1200" dirty="0">
                <a:solidFill>
                  <a:schemeClr val="tx1"/>
                </a:solidFill>
                <a:effectLst/>
                <a:latin typeface="+mn-lt"/>
                <a:ea typeface="+mn-ea"/>
                <a:cs typeface="+mn-cs"/>
              </a:rPr>
              <a:t>“When the students are ready to compile their work into a group setting, they’ll go into the Collaboration Space within their Class Notebook and find the section that has been designated for group notes.”</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Here you can see that Adele has added a sketch she made of a peacock feather.”</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Her group member, Alex, has also added a picture of an iceberg to represent triangles in nature.”</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They’ve both added comments in different colors to expand on their thoughts.”</a:t>
            </a:r>
          </a:p>
          <a:p>
            <a:pPr marL="171450" indent="-171450">
              <a:buFont typeface="Arial" panose="020B0604020202020204" pitchFamily="34" charset="0"/>
              <a:buChar char="•"/>
            </a:pPr>
            <a:endParaRPr lang="en-US" b="0" u="none" dirty="0">
              <a:cs typeface="Calibri"/>
            </a:endParaRPr>
          </a:p>
          <a:p>
            <a:endParaRPr lang="en-US" b="0" u="none" dirty="0">
              <a:cs typeface="Calibri"/>
            </a:endParaRPr>
          </a:p>
          <a:p>
            <a:pPr marL="171450" indent="-171450">
              <a:buFont typeface="Arial" panose="020B0604020202020204" pitchFamily="34" charset="0"/>
              <a:buChar char="•"/>
            </a:pPr>
            <a:endParaRPr lang="en-US" dirty="0">
              <a:solidFill>
                <a:srgbClr val="FFFFFF"/>
              </a:solidFill>
            </a:endParaRPr>
          </a:p>
          <a:p>
            <a:pPr marL="0" indent="0">
              <a:buFont typeface="Arial" panose="020B0604020202020204" pitchFamily="34" charset="0"/>
              <a:buNone/>
            </a:pPr>
            <a:r>
              <a:rPr lang="en-US" b="1" u="sng" dirty="0"/>
              <a:t>Do this:</a:t>
            </a:r>
          </a:p>
          <a:p>
            <a:pPr marL="171450" indent="-171450">
              <a:buFont typeface="Arial" panose="020B0604020202020204" pitchFamily="34" charset="0"/>
              <a:buChar char="•"/>
            </a:pPr>
            <a:r>
              <a:rPr lang="en-US" dirty="0"/>
              <a:t>Point to the examples of student collaboration in Class Notebook in Teams. Highlight features you’ve covered in the course so far.</a:t>
            </a:r>
          </a:p>
          <a:p>
            <a:pPr marL="0" indent="0">
              <a:buFont typeface="Arial" panose="020B0604020202020204" pitchFamily="34" charset="0"/>
              <a:buNone/>
            </a:pPr>
            <a:endParaRPr lang="en-US" dirty="0"/>
          </a:p>
          <a:p>
            <a:pPr marL="0" indent="0">
              <a:buFont typeface="Arial" panose="020B0604020202020204" pitchFamily="34" charset="0"/>
              <a:buNone/>
            </a:pPr>
            <a:r>
              <a:rPr lang="en-US" b="1" dirty="0"/>
              <a:t>Time frame: 30 seconds</a:t>
            </a:r>
          </a:p>
        </p:txBody>
      </p:sp>
      <p:sp>
        <p:nvSpPr>
          <p:cNvPr id="4" name="Slide Number Placeholder 3"/>
          <p:cNvSpPr>
            <a:spLocks noGrp="1"/>
          </p:cNvSpPr>
          <p:nvPr>
            <p:ph type="sldNum" sz="quarter" idx="10"/>
          </p:nvPr>
        </p:nvSpPr>
        <p:spPr/>
        <p:txBody>
          <a:bodyPr/>
          <a:lstStyle/>
          <a:p>
            <a:fld id="{31B7EB42-344B-4E34-9F63-E0044542ED2B}" type="slidenum">
              <a:rPr lang="en-US" smtClean="0"/>
              <a:t>22</a:t>
            </a:fld>
            <a:endParaRPr lang="en-US"/>
          </a:p>
        </p:txBody>
      </p:sp>
    </p:spTree>
    <p:extLst>
      <p:ext uri="{BB962C8B-B14F-4D97-AF65-F5344CB8AC3E}">
        <p14:creationId xmlns:p14="http://schemas.microsoft.com/office/powerpoint/2010/main" val="30384574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matches with the </a:t>
            </a:r>
            <a:r>
              <a:rPr lang="en-US" b="1" dirty="0"/>
              <a:t>Student collaboration</a:t>
            </a:r>
            <a:r>
              <a:rPr lang="en-US" b="1" baseline="0" dirty="0"/>
              <a:t> in Class Notebook in Teams: Situation and demonstration </a:t>
            </a:r>
            <a:r>
              <a:rPr lang="en-US" b="1" dirty="0"/>
              <a:t> </a:t>
            </a:r>
            <a:r>
              <a:rPr lang="en-US" dirty="0"/>
              <a:t>section of the Presentation plan</a:t>
            </a:r>
            <a:r>
              <a:rPr lang="en-US" baseline="0" dirty="0"/>
              <a:t>.</a:t>
            </a:r>
            <a:endParaRPr lang="en-US" dirty="0"/>
          </a:p>
          <a:p>
            <a:endParaRPr lang="en-US" dirty="0">
              <a:cs typeface="Calibri"/>
            </a:endParaRPr>
          </a:p>
          <a:p>
            <a:r>
              <a:rPr lang="en-US" b="1" u="sng" dirty="0"/>
              <a:t>Say:</a:t>
            </a:r>
            <a:endParaRPr lang="en-US" b="0" u="none" dirty="0"/>
          </a:p>
          <a:p>
            <a:pPr marL="171450" indent="-171450">
              <a:buFont typeface="Arial" panose="020B0604020202020204" pitchFamily="34" charset="0"/>
              <a:buChar char="•"/>
            </a:pPr>
            <a:r>
              <a:rPr lang="en-US" sz="1200" kern="1200" dirty="0">
                <a:solidFill>
                  <a:schemeClr val="tx1"/>
                </a:solidFill>
                <a:effectLst/>
                <a:latin typeface="+mn-lt"/>
                <a:ea typeface="+mn-ea"/>
                <a:cs typeface="+mn-cs"/>
              </a:rPr>
              <a:t>“Throughout the project, the group members need to communicate with each other and their teacher.”</a:t>
            </a:r>
          </a:p>
          <a:p>
            <a:pPr marL="171450" indent="-171450">
              <a:buFont typeface="Arial" panose="020B0604020202020204" pitchFamily="34" charset="0"/>
              <a:buChar char="•"/>
            </a:pPr>
            <a:r>
              <a:rPr lang="en-US" sz="1200" b="0" u="none" kern="1200" dirty="0">
                <a:solidFill>
                  <a:schemeClr val="tx1"/>
                </a:solidFill>
                <a:effectLst/>
                <a:latin typeface="+mn-lt"/>
                <a:ea typeface="+mn-ea"/>
                <a:cs typeface="+mn-cs"/>
              </a:rPr>
              <a:t>“They’ve used the conversations feature of Teams to decide what topics they will focus on and to let each other know when they’ve added work to the Collaboration Space.” </a:t>
            </a:r>
            <a:r>
              <a:rPr lang="en-US" sz="1200" b="0" i="1" u="none" kern="1200" dirty="0">
                <a:solidFill>
                  <a:schemeClr val="tx1"/>
                </a:solidFill>
                <a:effectLst/>
                <a:latin typeface="+mn-lt"/>
                <a:ea typeface="+mn-ea"/>
                <a:cs typeface="+mn-cs"/>
              </a:rPr>
              <a:t>(Click mouse to show) </a:t>
            </a:r>
          </a:p>
          <a:p>
            <a:pPr marL="171450" indent="-171450">
              <a:buFont typeface="Arial" panose="020B0604020202020204" pitchFamily="34" charset="0"/>
              <a:buChar char="•"/>
            </a:pPr>
            <a:r>
              <a:rPr lang="en-US" sz="1200" b="0" u="none" kern="1200" dirty="0">
                <a:solidFill>
                  <a:schemeClr val="tx1"/>
                </a:solidFill>
                <a:effectLst/>
                <a:latin typeface="+mn-lt"/>
                <a:ea typeface="+mn-ea"/>
                <a:cs typeface="+mn-cs"/>
              </a:rPr>
              <a:t>“They’ve also asked a clarifying question of their teacher, and one student explains where her work is in the flow.” </a:t>
            </a:r>
            <a:r>
              <a:rPr lang="en-US" sz="1200" b="0" i="1" u="none" kern="1200" dirty="0">
                <a:solidFill>
                  <a:schemeClr val="tx1"/>
                </a:solidFill>
                <a:effectLst/>
                <a:latin typeface="+mn-lt"/>
                <a:ea typeface="+mn-ea"/>
                <a:cs typeface="+mn-cs"/>
              </a:rPr>
              <a:t>(Click mouse once, then one more time to show both examples)</a:t>
            </a:r>
            <a:endParaRPr lang="en-US" b="0" i="1" u="none" dirty="0">
              <a:cs typeface="Calibri"/>
            </a:endParaRPr>
          </a:p>
          <a:p>
            <a:endParaRPr lang="en-US" b="0" u="none" dirty="0">
              <a:cs typeface="Calibri"/>
            </a:endParaRPr>
          </a:p>
          <a:p>
            <a:pPr marL="171450" indent="-171450">
              <a:buFont typeface="Arial" panose="020B0604020202020204" pitchFamily="34" charset="0"/>
              <a:buChar char="•"/>
            </a:pPr>
            <a:endParaRPr lang="en-US" dirty="0">
              <a:solidFill>
                <a:srgbClr val="FFFFFF"/>
              </a:solidFill>
            </a:endParaRPr>
          </a:p>
          <a:p>
            <a:pPr marL="0" indent="0">
              <a:buFont typeface="Arial" panose="020B0604020202020204" pitchFamily="34" charset="0"/>
              <a:buNone/>
            </a:pPr>
            <a:r>
              <a:rPr lang="en-US" b="1" u="sng" dirty="0"/>
              <a:t>Do this:</a:t>
            </a:r>
          </a:p>
          <a:p>
            <a:pPr marL="171450" indent="-171450">
              <a:buFont typeface="Arial" panose="020B0604020202020204" pitchFamily="34" charset="0"/>
              <a:buChar char="•"/>
            </a:pPr>
            <a:r>
              <a:rPr lang="en-US" dirty="0"/>
              <a:t>Point to the examples of student collaboration in Class Notebook in Teams. Highlight features you’ve covered in the course so far.</a:t>
            </a:r>
          </a:p>
          <a:p>
            <a:pPr marL="0" indent="0">
              <a:buFont typeface="Arial" panose="020B0604020202020204" pitchFamily="34" charset="0"/>
              <a:buNone/>
            </a:pPr>
            <a:endParaRPr lang="en-US" dirty="0"/>
          </a:p>
          <a:p>
            <a:pPr marL="0" indent="0">
              <a:buFont typeface="Arial" panose="020B0604020202020204" pitchFamily="34" charset="0"/>
              <a:buNone/>
            </a:pPr>
            <a:r>
              <a:rPr lang="en-US" b="1" dirty="0"/>
              <a:t>Time frame: 30 seconds</a:t>
            </a:r>
          </a:p>
        </p:txBody>
      </p:sp>
      <p:sp>
        <p:nvSpPr>
          <p:cNvPr id="4" name="Slide Number Placeholder 3"/>
          <p:cNvSpPr>
            <a:spLocks noGrp="1"/>
          </p:cNvSpPr>
          <p:nvPr>
            <p:ph type="sldNum" sz="quarter" idx="10"/>
          </p:nvPr>
        </p:nvSpPr>
        <p:spPr/>
        <p:txBody>
          <a:bodyPr/>
          <a:lstStyle/>
          <a:p>
            <a:fld id="{31B7EB42-344B-4E34-9F63-E0044542ED2B}" type="slidenum">
              <a:rPr lang="en-US" smtClean="0"/>
              <a:t>23</a:t>
            </a:fld>
            <a:endParaRPr lang="en-US"/>
          </a:p>
        </p:txBody>
      </p:sp>
    </p:spTree>
    <p:extLst>
      <p:ext uri="{BB962C8B-B14F-4D97-AF65-F5344CB8AC3E}">
        <p14:creationId xmlns:p14="http://schemas.microsoft.com/office/powerpoint/2010/main" val="23967063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8A57F9-F8B2-4AF1-BB1A-9C083FB51193}" type="slidenum">
              <a:rPr lang="en-US" smtClean="0"/>
              <a:t>26</a:t>
            </a:fld>
            <a:endParaRPr lang="en-US"/>
          </a:p>
        </p:txBody>
      </p:sp>
    </p:spTree>
    <p:extLst>
      <p:ext uri="{BB962C8B-B14F-4D97-AF65-F5344CB8AC3E}">
        <p14:creationId xmlns:p14="http://schemas.microsoft.com/office/powerpoint/2010/main" val="10689193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8A57F9-F8B2-4AF1-BB1A-9C083FB51193}" type="slidenum">
              <a:rPr lang="en-US" smtClean="0"/>
              <a:t>27</a:t>
            </a:fld>
            <a:endParaRPr lang="en-US"/>
          </a:p>
        </p:txBody>
      </p:sp>
    </p:spTree>
    <p:extLst>
      <p:ext uri="{BB962C8B-B14F-4D97-AF65-F5344CB8AC3E}">
        <p14:creationId xmlns:p14="http://schemas.microsoft.com/office/powerpoint/2010/main" val="14971827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8A57F9-F8B2-4AF1-BB1A-9C083FB51193}" type="slidenum">
              <a:rPr lang="en-US" smtClean="0"/>
              <a:t>4</a:t>
            </a:fld>
            <a:endParaRPr lang="en-US"/>
          </a:p>
        </p:txBody>
      </p:sp>
    </p:spTree>
    <p:extLst>
      <p:ext uri="{BB962C8B-B14F-4D97-AF65-F5344CB8AC3E}">
        <p14:creationId xmlns:p14="http://schemas.microsoft.com/office/powerpoint/2010/main" val="2303252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i="1"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418A57F9-F8B2-4AF1-BB1A-9C083FB51193}" type="slidenum">
              <a:rPr lang="en-US" smtClean="0"/>
              <a:t>5</a:t>
            </a:fld>
            <a:endParaRPr lang="en-US"/>
          </a:p>
        </p:txBody>
      </p:sp>
    </p:spTree>
    <p:extLst>
      <p:ext uri="{BB962C8B-B14F-4D97-AF65-F5344CB8AC3E}">
        <p14:creationId xmlns:p14="http://schemas.microsoft.com/office/powerpoint/2010/main" val="25272198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B7EB42-344B-4E34-9F63-E0044542ED2B}" type="slidenum">
              <a:rPr lang="en-US" smtClean="0"/>
              <a:t>7</a:t>
            </a:fld>
            <a:endParaRPr lang="en-US"/>
          </a:p>
        </p:txBody>
      </p:sp>
    </p:spTree>
    <p:extLst>
      <p:ext uri="{BB962C8B-B14F-4D97-AF65-F5344CB8AC3E}">
        <p14:creationId xmlns:p14="http://schemas.microsoft.com/office/powerpoint/2010/main" val="4008860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B7EB42-344B-4E34-9F63-E0044542ED2B}" type="slidenum">
              <a:rPr lang="en-US" smtClean="0"/>
              <a:t>8</a:t>
            </a:fld>
            <a:endParaRPr lang="en-US"/>
          </a:p>
        </p:txBody>
      </p:sp>
    </p:spTree>
    <p:extLst>
      <p:ext uri="{BB962C8B-B14F-4D97-AF65-F5344CB8AC3E}">
        <p14:creationId xmlns:p14="http://schemas.microsoft.com/office/powerpoint/2010/main" val="35621219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10"/>
          </p:nvPr>
        </p:nvSpPr>
        <p:spPr/>
        <p:txBody>
          <a:bodyPr/>
          <a:lstStyle/>
          <a:p>
            <a:fld id="{31B7EB42-344B-4E34-9F63-E0044542ED2B}" type="slidenum">
              <a:rPr lang="en-US" smtClean="0"/>
              <a:t>9</a:t>
            </a:fld>
            <a:endParaRPr lang="en-US"/>
          </a:p>
        </p:txBody>
      </p:sp>
    </p:spTree>
    <p:extLst>
      <p:ext uri="{BB962C8B-B14F-4D97-AF65-F5344CB8AC3E}">
        <p14:creationId xmlns:p14="http://schemas.microsoft.com/office/powerpoint/2010/main" val="36963556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B7EB42-344B-4E34-9F63-E0044542ED2B}" type="slidenum">
              <a:rPr lang="en-US" smtClean="0"/>
              <a:t>10</a:t>
            </a:fld>
            <a:endParaRPr lang="en-US"/>
          </a:p>
        </p:txBody>
      </p:sp>
    </p:spTree>
    <p:extLst>
      <p:ext uri="{BB962C8B-B14F-4D97-AF65-F5344CB8AC3E}">
        <p14:creationId xmlns:p14="http://schemas.microsoft.com/office/powerpoint/2010/main" val="14529280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B7EB42-344B-4E34-9F63-E0044542ED2B}" type="slidenum">
              <a:rPr lang="en-US" smtClean="0"/>
              <a:t>11</a:t>
            </a:fld>
            <a:endParaRPr lang="en-US"/>
          </a:p>
        </p:txBody>
      </p:sp>
    </p:spTree>
    <p:extLst>
      <p:ext uri="{BB962C8B-B14F-4D97-AF65-F5344CB8AC3E}">
        <p14:creationId xmlns:p14="http://schemas.microsoft.com/office/powerpoint/2010/main" val="25900931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10"/>
          </p:nvPr>
        </p:nvSpPr>
        <p:spPr/>
        <p:txBody>
          <a:bodyPr/>
          <a:lstStyle/>
          <a:p>
            <a:fld id="{31B7EB42-344B-4E34-9F63-E0044542ED2B}" type="slidenum">
              <a:rPr lang="en-US" smtClean="0"/>
              <a:t>12</a:t>
            </a:fld>
            <a:endParaRPr lang="en-US"/>
          </a:p>
        </p:txBody>
      </p:sp>
    </p:spTree>
    <p:extLst>
      <p:ext uri="{BB962C8B-B14F-4D97-AF65-F5344CB8AC3E}">
        <p14:creationId xmlns:p14="http://schemas.microsoft.com/office/powerpoint/2010/main" val="23263471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8.emf"/><Relationship Id="rId4" Type="http://schemas.openxmlformats.org/officeDocument/2006/relationships/oleObject" Target="../embeddings/oleObject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Edu Grade 3-5">
    <p:spTree>
      <p:nvGrpSpPr>
        <p:cNvPr id="1" name=""/>
        <p:cNvGrpSpPr/>
        <p:nvPr/>
      </p:nvGrpSpPr>
      <p:grpSpPr>
        <a:xfrm>
          <a:off x="0" y="0"/>
          <a:ext cx="0" cy="0"/>
          <a:chOff x="0" y="0"/>
          <a:chExt cx="0" cy="0"/>
        </a:xfrm>
      </p:grpSpPr>
      <p:sp>
        <p:nvSpPr>
          <p:cNvPr id="8" name="Rectangle 7"/>
          <p:cNvSpPr/>
          <p:nvPr userDrawn="1"/>
        </p:nvSpPr>
        <p:spPr>
          <a:xfrm>
            <a:off x="0" y="0"/>
            <a:ext cx="4004343"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67807" y="6116477"/>
            <a:ext cx="1358520" cy="515207"/>
          </a:xfrm>
          <a:prstGeom prst="rect">
            <a:avLst/>
          </a:prstGeom>
        </p:spPr>
      </p:pic>
      <p:sp>
        <p:nvSpPr>
          <p:cNvPr id="2" name="Title 1"/>
          <p:cNvSpPr>
            <a:spLocks noGrp="1"/>
          </p:cNvSpPr>
          <p:nvPr>
            <p:ph type="title" hasCustomPrompt="1"/>
          </p:nvPr>
        </p:nvSpPr>
        <p:spPr>
          <a:xfrm>
            <a:off x="381293" y="365781"/>
            <a:ext cx="3406414" cy="3063219"/>
          </a:xfrm>
        </p:spPr>
        <p:txBody>
          <a:bodyPr wrap="square" tIns="0" bIns="0" anchor="ctr"/>
          <a:lstStyle>
            <a:lvl1pPr>
              <a:defRPr sz="3921">
                <a:gradFill>
                  <a:gsLst>
                    <a:gs pos="2917">
                      <a:schemeClr val="bg1"/>
                    </a:gs>
                    <a:gs pos="100000">
                      <a:schemeClr val="bg1">
                        <a:alpha val="99000"/>
                      </a:schemeClr>
                    </a:gs>
                  </a:gsLst>
                  <a:lin ang="5400000" scaled="0"/>
                </a:gradFill>
                <a:latin typeface="Segoe UI Semilight" panose="020B0402040204020203" pitchFamily="34" charset="0"/>
                <a:cs typeface="Segoe UI Semilight" panose="020B0402040204020203" pitchFamily="34" charset="0"/>
              </a:defRPr>
            </a:lvl1pPr>
          </a:lstStyle>
          <a:p>
            <a:r>
              <a:rPr lang="en-US" dirty="0"/>
              <a:t>Click to add presentation title</a:t>
            </a:r>
          </a:p>
        </p:txBody>
      </p:sp>
      <p:sp>
        <p:nvSpPr>
          <p:cNvPr id="5" name="Picture Placeholder 4"/>
          <p:cNvSpPr>
            <a:spLocks noGrp="1"/>
          </p:cNvSpPr>
          <p:nvPr>
            <p:ph type="pic" sz="quarter" idx="10"/>
          </p:nvPr>
        </p:nvSpPr>
        <p:spPr>
          <a:xfrm>
            <a:off x="4004343" y="0"/>
            <a:ext cx="8187657" cy="6858000"/>
          </a:xfrm>
          <a:blipFill>
            <a:blip r:embed="rId3"/>
            <a:srcRect/>
            <a:stretch>
              <a:fillRect/>
            </a:stretch>
          </a:blipFill>
        </p:spPr>
        <p:txBody>
          <a:bodyPr anchor="ctr"/>
          <a:lstStyle>
            <a:lvl1pPr algn="ctr">
              <a:defRPr>
                <a:solidFill>
                  <a:schemeClr val="bg1">
                    <a:alpha val="0"/>
                  </a:schemeClr>
                </a:solidFill>
              </a:defRPr>
            </a:lvl1pPr>
          </a:lstStyle>
          <a:p>
            <a:endParaRPr lang="en-US" dirty="0"/>
          </a:p>
        </p:txBody>
      </p:sp>
      <p:sp>
        <p:nvSpPr>
          <p:cNvPr id="16" name="Text Placeholder 15"/>
          <p:cNvSpPr>
            <a:spLocks noGrp="1"/>
          </p:cNvSpPr>
          <p:nvPr>
            <p:ph type="body" sz="quarter" idx="11" hasCustomPrompt="1"/>
          </p:nvPr>
        </p:nvSpPr>
        <p:spPr>
          <a:xfrm>
            <a:off x="381292" y="3429001"/>
            <a:ext cx="3406414" cy="2059267"/>
          </a:xfrm>
        </p:spPr>
        <p:txBody>
          <a:bodyPr tIns="0" bIns="0" anchor="ctr"/>
          <a:lstStyle>
            <a:lvl1pPr>
              <a:defRPr sz="1961">
                <a:gradFill>
                  <a:gsLst>
                    <a:gs pos="2917">
                      <a:schemeClr val="bg1"/>
                    </a:gs>
                    <a:gs pos="100000">
                      <a:schemeClr val="bg1">
                        <a:alpha val="99000"/>
                      </a:schemeClr>
                    </a:gs>
                  </a:gsLst>
                  <a:lin ang="5400000" scaled="0"/>
                </a:gradFill>
              </a:defRPr>
            </a:lvl1pPr>
            <a:lvl2pPr>
              <a:defRPr sz="1765">
                <a:gradFill>
                  <a:gsLst>
                    <a:gs pos="2917">
                      <a:schemeClr val="bg1"/>
                    </a:gs>
                    <a:gs pos="100000">
                      <a:schemeClr val="bg1">
                        <a:alpha val="99000"/>
                      </a:schemeClr>
                    </a:gs>
                  </a:gsLst>
                  <a:lin ang="5400000" scaled="0"/>
                </a:gradFill>
              </a:defRPr>
            </a:lvl2pPr>
            <a:lvl3pPr marL="3112" indent="0">
              <a:buNone/>
              <a:defRPr sz="1961">
                <a:gradFill>
                  <a:gsLst>
                    <a:gs pos="2917">
                      <a:schemeClr val="bg1"/>
                    </a:gs>
                    <a:gs pos="100000">
                      <a:schemeClr val="bg1">
                        <a:alpha val="99000"/>
                      </a:schemeClr>
                    </a:gs>
                  </a:gsLst>
                  <a:lin ang="5400000" scaled="0"/>
                </a:gradFill>
              </a:defRPr>
            </a:lvl3pPr>
            <a:lvl4pPr>
              <a:defRPr sz="1961">
                <a:gradFill>
                  <a:gsLst>
                    <a:gs pos="2917">
                      <a:schemeClr val="bg1"/>
                    </a:gs>
                    <a:gs pos="100000">
                      <a:schemeClr val="bg1">
                        <a:alpha val="99000"/>
                      </a:schemeClr>
                    </a:gs>
                  </a:gsLst>
                  <a:lin ang="5400000" scaled="0"/>
                </a:gradFill>
              </a:defRPr>
            </a:lvl4pPr>
            <a:lvl5pPr>
              <a:defRPr sz="1961">
                <a:gradFill>
                  <a:gsLst>
                    <a:gs pos="2917">
                      <a:schemeClr val="bg1"/>
                    </a:gs>
                    <a:gs pos="100000">
                      <a:schemeClr val="bg1">
                        <a:alpha val="99000"/>
                      </a:schemeClr>
                    </a:gs>
                  </a:gsLst>
                  <a:lin ang="5400000" scaled="0"/>
                </a:gradFill>
              </a:defRPr>
            </a:lvl5pPr>
          </a:lstStyle>
          <a:p>
            <a:pPr lvl="0"/>
            <a:r>
              <a:rPr lang="en-US" dirty="0"/>
              <a:t>Click to add byline</a:t>
            </a:r>
          </a:p>
          <a:p>
            <a:pPr lvl="1"/>
            <a:r>
              <a:rPr lang="en-US" dirty="0"/>
              <a:t>Second level</a:t>
            </a:r>
          </a:p>
        </p:txBody>
      </p:sp>
    </p:spTree>
    <p:extLst>
      <p:ext uri="{BB962C8B-B14F-4D97-AF65-F5344CB8AC3E}">
        <p14:creationId xmlns:p14="http://schemas.microsoft.com/office/powerpoint/2010/main" val="3977766566"/>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4 Screen Capture 3:2 A">
    <p:spTree>
      <p:nvGrpSpPr>
        <p:cNvPr id="1" name=""/>
        <p:cNvGrpSpPr/>
        <p:nvPr/>
      </p:nvGrpSpPr>
      <p:grpSpPr>
        <a:xfrm>
          <a:off x="0" y="0"/>
          <a:ext cx="0" cy="0"/>
          <a:chOff x="0" y="0"/>
          <a:chExt cx="0" cy="0"/>
        </a:xfrm>
      </p:grpSpPr>
      <p:grpSp>
        <p:nvGrpSpPr>
          <p:cNvPr id="13" name="Group 12"/>
          <p:cNvGrpSpPr/>
          <p:nvPr userDrawn="1"/>
        </p:nvGrpSpPr>
        <p:grpSpPr>
          <a:xfrm>
            <a:off x="599" y="1404597"/>
            <a:ext cx="7693114" cy="5087622"/>
            <a:chOff x="611" y="1432559"/>
            <a:chExt cx="7847377" cy="5188903"/>
          </a:xfrm>
        </p:grpSpPr>
        <p:pic>
          <p:nvPicPr>
            <p:cNvPr id="14" name="Picture 13"/>
            <p:cNvPicPr>
              <a:picLocks noChangeAspect="1"/>
            </p:cNvPicPr>
            <p:nvPr userDrawn="1"/>
          </p:nvPicPr>
          <p:blipFill>
            <a:blip r:embed="rId2"/>
            <a:stretch>
              <a:fillRect/>
            </a:stretch>
          </p:blipFill>
          <p:spPr>
            <a:xfrm>
              <a:off x="611" y="1432559"/>
              <a:ext cx="7847377" cy="5188903"/>
            </a:xfrm>
            <a:prstGeom prst="rect">
              <a:avLst/>
            </a:prstGeom>
          </p:spPr>
        </p:pic>
        <p:pic>
          <p:nvPicPr>
            <p:cNvPr id="15" name="Picture 14"/>
            <p:cNvPicPr>
              <a:picLocks noChangeAspect="1"/>
            </p:cNvPicPr>
            <p:nvPr userDrawn="1"/>
          </p:nvPicPr>
          <p:blipFill rotWithShape="1">
            <a:blip r:embed="rId2"/>
            <a:srcRect l="90977" t="51856" r="3940" b="39270"/>
            <a:stretch/>
          </p:blipFill>
          <p:spPr>
            <a:xfrm>
              <a:off x="7139939" y="3848374"/>
              <a:ext cx="398927" cy="460489"/>
            </a:xfrm>
            <a:prstGeom prst="rect">
              <a:avLst/>
            </a:prstGeom>
          </p:spPr>
        </p:pic>
      </p:grpSp>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9DE2E20-C700-4A3A-A890-B84EE414F382}" type="datetime1">
              <a:rPr lang="en-US" smtClean="0"/>
              <a:t>4/17/2020</a:t>
            </a:fld>
            <a:endParaRPr lang="en-US"/>
          </a:p>
        </p:txBody>
      </p:sp>
      <p:sp>
        <p:nvSpPr>
          <p:cNvPr id="4" name="Footer Placeholder 3"/>
          <p:cNvSpPr>
            <a:spLocks noGrp="1"/>
          </p:cNvSpPr>
          <p:nvPr>
            <p:ph type="ftr" sz="quarter" idx="11"/>
          </p:nvPr>
        </p:nvSpPr>
        <p:spPr/>
        <p:txBody>
          <a:bodyPr/>
          <a:lstStyle/>
          <a:p>
            <a:r>
              <a:rPr lang="en-US"/>
              <a:t>microsoft.com/education</a:t>
            </a:r>
            <a:endParaRPr lang="en-US" dirty="0"/>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6" name="Content Placeholder 11"/>
          <p:cNvSpPr>
            <a:spLocks noGrp="1"/>
          </p:cNvSpPr>
          <p:nvPr>
            <p:ph sz="quarter" idx="13"/>
          </p:nvPr>
        </p:nvSpPr>
        <p:spPr>
          <a:xfrm>
            <a:off x="8187659" y="1561184"/>
            <a:ext cx="3623049" cy="4931036"/>
          </a:xfrm>
        </p:spPr>
        <p:txBody>
          <a:bodyPr/>
          <a:lstStyle>
            <a:lvl1pPr>
              <a:defRPr sz="1765"/>
            </a:lvl1pPr>
            <a:lvl2pPr>
              <a:defRPr sz="1568"/>
            </a:lvl2pPr>
            <a:lvl3pPr>
              <a:defRPr sz="1568"/>
            </a:lvl3pPr>
            <a:lvl4pPr>
              <a:defRPr sz="1568"/>
            </a:lvl4pPr>
            <a:lvl5pPr>
              <a:defRPr sz="1568"/>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8"/>
          <p:cNvSpPr>
            <a:spLocks noGrp="1" noChangeAspect="1"/>
          </p:cNvSpPr>
          <p:nvPr>
            <p:ph type="pic" sz="quarter" idx="14" hasCustomPrompt="1"/>
          </p:nvPr>
        </p:nvSpPr>
        <p:spPr>
          <a:xfrm>
            <a:off x="838085" y="1897364"/>
            <a:ext cx="6161498" cy="4108248"/>
          </a:xfrm>
          <a:solidFill>
            <a:srgbClr val="00172A"/>
          </a:solidFill>
        </p:spPr>
        <p:txBody>
          <a:bodyPr tIns="0" rIns="0" bIns="1097280" anchor="b"/>
          <a:lstStyle>
            <a:lvl1pPr algn="ctr">
              <a:defRPr sz="1765" baseline="0">
                <a:solidFill>
                  <a:srgbClr val="C00000"/>
                </a:solidFill>
              </a:defRPr>
            </a:lvl1pPr>
          </a:lstStyle>
          <a:p>
            <a:r>
              <a:rPr lang="en-US" dirty="0"/>
              <a:t>Paste full screen grab here (3:2 aspect ratio)</a:t>
            </a:r>
          </a:p>
        </p:txBody>
      </p:sp>
      <p:sp>
        <p:nvSpPr>
          <p:cNvPr id="12" name="Text Placeholder 2"/>
          <p:cNvSpPr>
            <a:spLocks noGrp="1"/>
          </p:cNvSpPr>
          <p:nvPr>
            <p:ph type="body" sz="quarter" idx="15"/>
          </p:nvPr>
        </p:nvSpPr>
        <p:spPr>
          <a:xfrm>
            <a:off x="381293" y="838962"/>
            <a:ext cx="3007457" cy="452654"/>
          </a:xfrm>
        </p:spPr>
        <p:txBody>
          <a:bodyPr wrap="none">
            <a:spAutoFit/>
          </a:bodyPr>
          <a:lstStyle>
            <a:lvl1pPr>
              <a:defRPr sz="2353">
                <a:gradFill>
                  <a:gsLst>
                    <a:gs pos="2917">
                      <a:schemeClr val="tx1">
                        <a:lumMod val="75000"/>
                      </a:schemeClr>
                    </a:gs>
                    <a:gs pos="100000">
                      <a:schemeClr val="tx1">
                        <a:lumMod val="75000"/>
                      </a:schemeClr>
                    </a:gs>
                  </a:gsLst>
                  <a:lin ang="5400000" scaled="0"/>
                </a:gradFill>
              </a:defRPr>
            </a:lvl1pPr>
          </a:lstStyle>
          <a:p>
            <a:pPr lvl="0"/>
            <a:r>
              <a:rPr lang="en-US" dirty="0"/>
              <a:t>Edit Master text styles</a:t>
            </a:r>
          </a:p>
        </p:txBody>
      </p:sp>
    </p:spTree>
    <p:extLst>
      <p:ext uri="{BB962C8B-B14F-4D97-AF65-F5344CB8AC3E}">
        <p14:creationId xmlns:p14="http://schemas.microsoft.com/office/powerpoint/2010/main" val="194487034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P4 Screen Capture 3:2 B">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stretch>
            <a:fillRect/>
          </a:stretch>
        </p:blipFill>
        <p:spPr>
          <a:xfrm>
            <a:off x="4302066" y="1304107"/>
            <a:ext cx="7886110" cy="5546734"/>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9DE2E20-C700-4A3A-A890-B84EE414F382}" type="datetime1">
              <a:rPr lang="en-US" smtClean="0"/>
              <a:t>4/17/2020</a:t>
            </a:fld>
            <a:endParaRPr lang="en-US"/>
          </a:p>
        </p:txBody>
      </p:sp>
      <p:sp>
        <p:nvSpPr>
          <p:cNvPr id="4" name="Footer Placeholder 3"/>
          <p:cNvSpPr>
            <a:spLocks noGrp="1"/>
          </p:cNvSpPr>
          <p:nvPr>
            <p:ph type="ftr" sz="quarter" idx="11"/>
          </p:nvPr>
        </p:nvSpPr>
        <p:spPr>
          <a:xfrm>
            <a:off x="381293" y="6492220"/>
            <a:ext cx="4078138" cy="358621"/>
          </a:xfrm>
        </p:spPr>
        <p:txBody>
          <a:bodyPr/>
          <a:lstStyle/>
          <a:p>
            <a:r>
              <a:rPr lang="en-US"/>
              <a:t>microsoft.com/education</a:t>
            </a:r>
            <a:endParaRPr lang="en-US" dirty="0"/>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6" name="Content Placeholder 11"/>
          <p:cNvSpPr>
            <a:spLocks noGrp="1"/>
          </p:cNvSpPr>
          <p:nvPr>
            <p:ph sz="quarter" idx="13"/>
          </p:nvPr>
        </p:nvSpPr>
        <p:spPr>
          <a:xfrm>
            <a:off x="381293" y="1561184"/>
            <a:ext cx="3623049" cy="4931036"/>
          </a:xfrm>
        </p:spPr>
        <p:txBody>
          <a:bodyPr/>
          <a:lstStyle>
            <a:lvl1pPr>
              <a:defRPr sz="1765"/>
            </a:lvl1pPr>
            <a:lvl2pPr>
              <a:defRPr sz="1568"/>
            </a:lvl2pPr>
            <a:lvl3pPr>
              <a:defRPr sz="1568"/>
            </a:lvl3pPr>
            <a:lvl4pPr>
              <a:defRPr sz="1568"/>
            </a:lvl4pPr>
            <a:lvl5pPr>
              <a:defRPr sz="1568"/>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8"/>
          <p:cNvSpPr>
            <a:spLocks noGrp="1" noChangeAspect="1"/>
          </p:cNvSpPr>
          <p:nvPr>
            <p:ph type="pic" sz="quarter" idx="14" hasCustomPrompt="1"/>
          </p:nvPr>
        </p:nvSpPr>
        <p:spPr>
          <a:xfrm>
            <a:off x="5150689" y="2163125"/>
            <a:ext cx="7041311" cy="4694875"/>
          </a:xfrm>
          <a:solidFill>
            <a:srgbClr val="00172A"/>
          </a:solidFill>
        </p:spPr>
        <p:txBody>
          <a:bodyPr lIns="1097280" tIns="0" rIns="1097280" bIns="1097280" anchor="b"/>
          <a:lstStyle>
            <a:lvl1pPr algn="ctr">
              <a:defRPr sz="1765" baseline="0">
                <a:solidFill>
                  <a:srgbClr val="C00000"/>
                </a:solidFill>
              </a:defRPr>
            </a:lvl1pPr>
          </a:lstStyle>
          <a:p>
            <a:r>
              <a:rPr lang="en-US" dirty="0"/>
              <a:t>Paste full screen grab here (3:2 aspect ratio). Position and scale using the image crop tool.</a:t>
            </a:r>
          </a:p>
        </p:txBody>
      </p:sp>
      <p:sp>
        <p:nvSpPr>
          <p:cNvPr id="12" name="Text Placeholder 2"/>
          <p:cNvSpPr>
            <a:spLocks noGrp="1"/>
          </p:cNvSpPr>
          <p:nvPr>
            <p:ph type="body" sz="quarter" idx="15"/>
          </p:nvPr>
        </p:nvSpPr>
        <p:spPr>
          <a:xfrm>
            <a:off x="381293" y="838962"/>
            <a:ext cx="3007457" cy="452654"/>
          </a:xfrm>
        </p:spPr>
        <p:txBody>
          <a:bodyPr wrap="none">
            <a:spAutoFit/>
          </a:bodyPr>
          <a:lstStyle>
            <a:lvl1pPr>
              <a:defRPr sz="2353">
                <a:gradFill>
                  <a:gsLst>
                    <a:gs pos="2917">
                      <a:schemeClr val="tx1">
                        <a:lumMod val="75000"/>
                      </a:schemeClr>
                    </a:gs>
                    <a:gs pos="100000">
                      <a:schemeClr val="tx1">
                        <a:lumMod val="75000"/>
                      </a:schemeClr>
                    </a:gs>
                  </a:gsLst>
                  <a:lin ang="5400000" scaled="0"/>
                </a:gradFill>
              </a:defRPr>
            </a:lvl1pPr>
          </a:lstStyle>
          <a:p>
            <a:pPr lvl="0"/>
            <a:r>
              <a:rPr lang="en-US" dirty="0"/>
              <a:t>Edit Master text styles</a:t>
            </a:r>
          </a:p>
        </p:txBody>
      </p:sp>
    </p:spTree>
    <p:extLst>
      <p:ext uri="{BB962C8B-B14F-4D97-AF65-F5344CB8AC3E}">
        <p14:creationId xmlns:p14="http://schemas.microsoft.com/office/powerpoint/2010/main" val="418267595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P4 Screen Capture 3:2 C">
    <p:spTree>
      <p:nvGrpSpPr>
        <p:cNvPr id="1" name=""/>
        <p:cNvGrpSpPr/>
        <p:nvPr/>
      </p:nvGrpSpPr>
      <p:grpSpPr>
        <a:xfrm>
          <a:off x="0" y="0"/>
          <a:ext cx="0" cy="0"/>
          <a:chOff x="0" y="0"/>
          <a:chExt cx="0" cy="0"/>
        </a:xfrm>
      </p:grpSpPr>
      <p:grpSp>
        <p:nvGrpSpPr>
          <p:cNvPr id="9" name="Group 8"/>
          <p:cNvGrpSpPr/>
          <p:nvPr userDrawn="1"/>
        </p:nvGrpSpPr>
        <p:grpSpPr>
          <a:xfrm>
            <a:off x="1" y="1286899"/>
            <a:ext cx="8011178" cy="5564471"/>
            <a:chOff x="0" y="1312517"/>
            <a:chExt cx="8171819" cy="5675245"/>
          </a:xfrm>
        </p:grpSpPr>
        <p:pic>
          <p:nvPicPr>
            <p:cNvPr id="13" name="Picture 12"/>
            <p:cNvPicPr>
              <a:picLocks noChangeAspect="1"/>
            </p:cNvPicPr>
            <p:nvPr userDrawn="1"/>
          </p:nvPicPr>
          <p:blipFill rotWithShape="1">
            <a:blip r:embed="rId2"/>
            <a:srcRect r="2467" b="525"/>
            <a:stretch/>
          </p:blipFill>
          <p:spPr>
            <a:xfrm>
              <a:off x="0" y="1312517"/>
              <a:ext cx="8171819" cy="5675245"/>
            </a:xfrm>
            <a:prstGeom prst="rect">
              <a:avLst/>
            </a:prstGeom>
          </p:spPr>
        </p:pic>
        <p:pic>
          <p:nvPicPr>
            <p:cNvPr id="14" name="Picture 13"/>
            <p:cNvPicPr>
              <a:picLocks noChangeAspect="1"/>
            </p:cNvPicPr>
            <p:nvPr userDrawn="1"/>
          </p:nvPicPr>
          <p:blipFill rotWithShape="1">
            <a:blip r:embed="rId2"/>
            <a:srcRect l="86949" t="82630" r="5075" b="6993"/>
            <a:stretch/>
          </p:blipFill>
          <p:spPr>
            <a:xfrm>
              <a:off x="7285039" y="5571919"/>
              <a:ext cx="668268" cy="592058"/>
            </a:xfrm>
            <a:prstGeom prst="rect">
              <a:avLst/>
            </a:prstGeom>
          </p:spPr>
        </p:pic>
      </p:grpSp>
      <p:sp>
        <p:nvSpPr>
          <p:cNvPr id="2" name="Title 1"/>
          <p:cNvSpPr>
            <a:spLocks noGrp="1"/>
          </p:cNvSpPr>
          <p:nvPr>
            <p:ph type="title"/>
          </p:nvPr>
        </p:nvSpPr>
        <p:spPr>
          <a:xfrm>
            <a:off x="381293" y="235035"/>
            <a:ext cx="11426462" cy="603538"/>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89DE2E20-C700-4A3A-A890-B84EE414F382}" type="datetime1">
              <a:rPr lang="en-US" smtClean="0"/>
              <a:t>4/17/2020</a:t>
            </a:fld>
            <a:endParaRPr lang="en-US"/>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6" name="Content Placeholder 11"/>
          <p:cNvSpPr>
            <a:spLocks noGrp="1"/>
          </p:cNvSpPr>
          <p:nvPr>
            <p:ph sz="quarter" idx="13"/>
          </p:nvPr>
        </p:nvSpPr>
        <p:spPr>
          <a:xfrm>
            <a:off x="8184706" y="1561184"/>
            <a:ext cx="3623049" cy="4931036"/>
          </a:xfrm>
        </p:spPr>
        <p:txBody>
          <a:bodyPr/>
          <a:lstStyle>
            <a:lvl1pPr>
              <a:defRPr sz="1765"/>
            </a:lvl1pPr>
            <a:lvl2pPr>
              <a:defRPr sz="1568"/>
            </a:lvl2pPr>
            <a:lvl3pPr>
              <a:defRPr sz="1568"/>
            </a:lvl3pPr>
            <a:lvl4pPr>
              <a:defRPr sz="1568"/>
            </a:lvl4pPr>
            <a:lvl5pPr>
              <a:defRPr sz="1568"/>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8"/>
          <p:cNvSpPr>
            <a:spLocks noGrp="1" noChangeAspect="1"/>
          </p:cNvSpPr>
          <p:nvPr>
            <p:ph type="pic" sz="quarter" idx="14" hasCustomPrompt="1"/>
          </p:nvPr>
        </p:nvSpPr>
        <p:spPr>
          <a:xfrm>
            <a:off x="0" y="2162897"/>
            <a:ext cx="7147736" cy="4695104"/>
          </a:xfrm>
          <a:solidFill>
            <a:srgbClr val="00172A"/>
          </a:solidFill>
        </p:spPr>
        <p:txBody>
          <a:bodyPr lIns="1097280" tIns="0" rIns="1097280" bIns="1097280" anchor="b"/>
          <a:lstStyle>
            <a:lvl1pPr algn="ctr">
              <a:defRPr sz="1765" baseline="0">
                <a:solidFill>
                  <a:srgbClr val="C00000"/>
                </a:solidFill>
              </a:defRPr>
            </a:lvl1pPr>
          </a:lstStyle>
          <a:p>
            <a:r>
              <a:rPr lang="en-US" dirty="0"/>
              <a:t>Paste full screen grab here (3:2 aspect ratio). Position and scale using the image crop tool.</a:t>
            </a:r>
          </a:p>
        </p:txBody>
      </p:sp>
      <p:sp>
        <p:nvSpPr>
          <p:cNvPr id="12" name="Text Placeholder 2"/>
          <p:cNvSpPr>
            <a:spLocks noGrp="1"/>
          </p:cNvSpPr>
          <p:nvPr>
            <p:ph type="body" sz="quarter" idx="15"/>
          </p:nvPr>
        </p:nvSpPr>
        <p:spPr>
          <a:xfrm>
            <a:off x="381293" y="838962"/>
            <a:ext cx="3007457" cy="452654"/>
          </a:xfrm>
        </p:spPr>
        <p:txBody>
          <a:bodyPr wrap="none">
            <a:spAutoFit/>
          </a:bodyPr>
          <a:lstStyle>
            <a:lvl1pPr>
              <a:defRPr sz="2353">
                <a:gradFill>
                  <a:gsLst>
                    <a:gs pos="2917">
                      <a:schemeClr val="tx1">
                        <a:lumMod val="75000"/>
                      </a:schemeClr>
                    </a:gs>
                    <a:gs pos="100000">
                      <a:schemeClr val="tx1">
                        <a:lumMod val="75000"/>
                      </a:schemeClr>
                    </a:gs>
                  </a:gsLst>
                  <a:lin ang="5400000" scaled="0"/>
                </a:gradFill>
              </a:defRPr>
            </a:lvl1pPr>
          </a:lstStyle>
          <a:p>
            <a:pPr lvl="0"/>
            <a:r>
              <a:rPr lang="en-US" dirty="0"/>
              <a:t>Edit Master text styles</a:t>
            </a:r>
          </a:p>
        </p:txBody>
      </p:sp>
    </p:spTree>
    <p:extLst>
      <p:ext uri="{BB962C8B-B14F-4D97-AF65-F5344CB8AC3E}">
        <p14:creationId xmlns:p14="http://schemas.microsoft.com/office/powerpoint/2010/main" val="111055855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urface Hub Screen Capture 16:9 A">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l="19581" r="20912"/>
          <a:stretch/>
        </p:blipFill>
        <p:spPr>
          <a:xfrm>
            <a:off x="1" y="838573"/>
            <a:ext cx="6365750" cy="6019427"/>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6" name="Content Placeholder 11"/>
          <p:cNvSpPr>
            <a:spLocks noGrp="1"/>
          </p:cNvSpPr>
          <p:nvPr>
            <p:ph sz="quarter" idx="13"/>
          </p:nvPr>
        </p:nvSpPr>
        <p:spPr>
          <a:xfrm>
            <a:off x="6626736" y="1561184"/>
            <a:ext cx="5183973" cy="4931036"/>
          </a:xfrm>
        </p:spPr>
        <p:txBody>
          <a:bodyPr/>
          <a:lstStyle>
            <a:lvl1pPr>
              <a:spcBef>
                <a:spcPts val="1176"/>
              </a:spcBef>
              <a:defRPr sz="1568"/>
            </a:lvl1pPr>
            <a:lvl2pPr>
              <a:defRPr sz="1372"/>
            </a:lvl2pPr>
            <a:lvl3pPr>
              <a:defRPr sz="1372"/>
            </a:lvl3pPr>
            <a:lvl4pPr>
              <a:defRPr sz="1372"/>
            </a:lvl4pPr>
            <a:lvl5pPr>
              <a:defRPr sz="137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p:cNvSpPr>
            <a:spLocks noGrp="1" noChangeAspect="1"/>
          </p:cNvSpPr>
          <p:nvPr>
            <p:ph type="pic" sz="quarter" idx="14" hasCustomPrompt="1"/>
          </p:nvPr>
        </p:nvSpPr>
        <p:spPr>
          <a:xfrm>
            <a:off x="814012" y="1561185"/>
            <a:ext cx="4851393" cy="2725812"/>
          </a:xfrm>
          <a:solidFill>
            <a:srgbClr val="00172A"/>
          </a:solidFill>
        </p:spPr>
        <p:txBody>
          <a:bodyPr tIns="0" rIns="0" bIns="1097280" anchor="b"/>
          <a:lstStyle>
            <a:lvl1pPr algn="ctr">
              <a:defRPr sz="1765" baseline="0">
                <a:solidFill>
                  <a:srgbClr val="C00000"/>
                </a:solidFill>
              </a:defRPr>
            </a:lvl1pPr>
          </a:lstStyle>
          <a:p>
            <a:r>
              <a:rPr lang="en-US" dirty="0"/>
              <a:t>Paste full screen grab here (16:9 aspect ratio)</a:t>
            </a:r>
          </a:p>
        </p:txBody>
      </p:sp>
      <p:sp>
        <p:nvSpPr>
          <p:cNvPr id="10" name="Text Placeholder 2"/>
          <p:cNvSpPr>
            <a:spLocks noGrp="1"/>
          </p:cNvSpPr>
          <p:nvPr>
            <p:ph type="body" sz="quarter" idx="15"/>
          </p:nvPr>
        </p:nvSpPr>
        <p:spPr>
          <a:xfrm>
            <a:off x="381293" y="838962"/>
            <a:ext cx="3007457" cy="452654"/>
          </a:xfrm>
        </p:spPr>
        <p:txBody>
          <a:bodyPr wrap="none">
            <a:spAutoFit/>
          </a:bodyPr>
          <a:lstStyle>
            <a:lvl1pPr>
              <a:defRPr lang="en-US" sz="2353" kern="1200" baseline="0" dirty="0">
                <a:gradFill>
                  <a:gsLst>
                    <a:gs pos="2917">
                      <a:schemeClr val="tx1">
                        <a:lumMod val="75000"/>
                      </a:schemeClr>
                    </a:gs>
                    <a:gs pos="100000">
                      <a:schemeClr val="tx1">
                        <a:lumMod val="75000"/>
                      </a:schemeClr>
                    </a:gs>
                  </a:gsLst>
                  <a:lin ang="5400000" scaled="0"/>
                </a:gradFill>
                <a:latin typeface="Segoe UI Semibold" panose="020B0702040204020203" pitchFamily="34" charset="0"/>
                <a:ea typeface="+mn-ea"/>
                <a:cs typeface="Segoe UI Semibold" panose="020B0702040204020203" pitchFamily="34" charset="0"/>
              </a:defRPr>
            </a:lvl1pPr>
          </a:lstStyle>
          <a:p>
            <a:pPr marL="0" lvl="0" indent="0" algn="l" defTabSz="914225" rtl="0" eaLnBrk="1" latinLnBrk="0" hangingPunct="1">
              <a:spcBef>
                <a:spcPts val="1765"/>
              </a:spcBef>
              <a:spcAft>
                <a:spcPts val="0"/>
              </a:spcAft>
              <a:buFont typeface="Arial" panose="020B0604020202020204" pitchFamily="34" charset="0"/>
              <a:buNone/>
            </a:pPr>
            <a:r>
              <a:rPr lang="en-US" dirty="0"/>
              <a:t>Edit Master text styles</a:t>
            </a:r>
          </a:p>
        </p:txBody>
      </p:sp>
      <p:sp>
        <p:nvSpPr>
          <p:cNvPr id="13" name="Date Placeholder 12"/>
          <p:cNvSpPr>
            <a:spLocks noGrp="1"/>
          </p:cNvSpPr>
          <p:nvPr>
            <p:ph type="dt" sz="half" idx="16"/>
          </p:nvPr>
        </p:nvSpPr>
        <p:spPr/>
        <p:txBody>
          <a:bodyPr/>
          <a:lstStyle/>
          <a:p>
            <a:fld id="{89DE2E20-C700-4A3A-A890-B84EE414F382}" type="datetime1">
              <a:rPr lang="en-US" smtClean="0"/>
              <a:t>4/17/2020</a:t>
            </a:fld>
            <a:endParaRPr lang="en-US"/>
          </a:p>
        </p:txBody>
      </p:sp>
      <p:sp>
        <p:nvSpPr>
          <p:cNvPr id="14" name="Footer Placeholder 13"/>
          <p:cNvSpPr>
            <a:spLocks noGrp="1"/>
          </p:cNvSpPr>
          <p:nvPr>
            <p:ph type="ftr" sz="quarter" idx="17"/>
          </p:nvPr>
        </p:nvSpPr>
        <p:spPr/>
        <p:txBody>
          <a:bodyPr/>
          <a:lstStyle/>
          <a:p>
            <a:r>
              <a:rPr lang="en-US"/>
              <a:t>Pre-release simulated screenshot shown, final experience may differ.</a:t>
            </a:r>
            <a:endParaRPr lang="en-US" dirty="0"/>
          </a:p>
        </p:txBody>
      </p:sp>
      <p:sp>
        <p:nvSpPr>
          <p:cNvPr id="15" name="Slide Number Placeholder 14"/>
          <p:cNvSpPr>
            <a:spLocks noGrp="1"/>
          </p:cNvSpPr>
          <p:nvPr>
            <p:ph type="sldNum" sz="quarter" idx="18"/>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339384031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urface Hub Screen Capture 16:9 B">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26794" t="15555" r="26465" b="37490"/>
          <a:stretch/>
        </p:blipFill>
        <p:spPr>
          <a:xfrm>
            <a:off x="192902" y="1330440"/>
            <a:ext cx="7914458" cy="4474202"/>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6" name="Content Placeholder 11"/>
          <p:cNvSpPr>
            <a:spLocks noGrp="1"/>
          </p:cNvSpPr>
          <p:nvPr>
            <p:ph sz="quarter" idx="13"/>
          </p:nvPr>
        </p:nvSpPr>
        <p:spPr>
          <a:xfrm>
            <a:off x="8187659" y="1561184"/>
            <a:ext cx="3623050" cy="4931036"/>
          </a:xfrm>
        </p:spPr>
        <p:txBody>
          <a:bodyPr/>
          <a:lstStyle>
            <a:lvl1pPr>
              <a:spcBef>
                <a:spcPts val="1176"/>
              </a:spcBef>
              <a:defRPr sz="1568"/>
            </a:lvl1pPr>
            <a:lvl2pPr>
              <a:defRPr sz="1372"/>
            </a:lvl2pPr>
            <a:lvl3pPr>
              <a:defRPr sz="1372"/>
            </a:lvl3pPr>
            <a:lvl4pPr>
              <a:defRPr sz="1372"/>
            </a:lvl4pPr>
            <a:lvl5pPr>
              <a:defRPr sz="137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p:cNvSpPr>
            <a:spLocks noGrp="1" noChangeAspect="1"/>
          </p:cNvSpPr>
          <p:nvPr>
            <p:ph type="pic" sz="quarter" idx="14" hasCustomPrompt="1"/>
          </p:nvPr>
        </p:nvSpPr>
        <p:spPr>
          <a:xfrm>
            <a:off x="972869" y="1760784"/>
            <a:ext cx="6346043" cy="3565598"/>
          </a:xfrm>
          <a:solidFill>
            <a:srgbClr val="00172A"/>
          </a:solidFill>
        </p:spPr>
        <p:txBody>
          <a:bodyPr tIns="0" rIns="0" bIns="1097280" anchor="b"/>
          <a:lstStyle>
            <a:lvl1pPr algn="ctr">
              <a:defRPr sz="1765" baseline="0">
                <a:solidFill>
                  <a:srgbClr val="C00000"/>
                </a:solidFill>
              </a:defRPr>
            </a:lvl1pPr>
          </a:lstStyle>
          <a:p>
            <a:r>
              <a:rPr lang="en-US" dirty="0"/>
              <a:t>Paste full screen grab here (16:9 aspect ratio)</a:t>
            </a:r>
          </a:p>
        </p:txBody>
      </p:sp>
      <p:sp>
        <p:nvSpPr>
          <p:cNvPr id="10" name="Text Placeholder 2"/>
          <p:cNvSpPr>
            <a:spLocks noGrp="1"/>
          </p:cNvSpPr>
          <p:nvPr>
            <p:ph type="body" sz="quarter" idx="15"/>
          </p:nvPr>
        </p:nvSpPr>
        <p:spPr>
          <a:xfrm>
            <a:off x="381293" y="838962"/>
            <a:ext cx="3007457" cy="452654"/>
          </a:xfrm>
        </p:spPr>
        <p:txBody>
          <a:bodyPr wrap="none">
            <a:spAutoFit/>
          </a:bodyPr>
          <a:lstStyle>
            <a:lvl1pPr>
              <a:defRPr lang="en-US" sz="2353" kern="1200" baseline="0" dirty="0">
                <a:gradFill>
                  <a:gsLst>
                    <a:gs pos="2917">
                      <a:schemeClr val="tx1">
                        <a:lumMod val="75000"/>
                      </a:schemeClr>
                    </a:gs>
                    <a:gs pos="100000">
                      <a:schemeClr val="tx1">
                        <a:lumMod val="75000"/>
                      </a:schemeClr>
                    </a:gs>
                  </a:gsLst>
                  <a:lin ang="5400000" scaled="0"/>
                </a:gradFill>
                <a:latin typeface="Segoe UI Semibold" panose="020B0702040204020203" pitchFamily="34" charset="0"/>
                <a:ea typeface="+mn-ea"/>
                <a:cs typeface="Segoe UI Semibold" panose="020B0702040204020203" pitchFamily="34" charset="0"/>
              </a:defRPr>
            </a:lvl1pPr>
          </a:lstStyle>
          <a:p>
            <a:pPr marL="0" lvl="0" indent="0" algn="l" defTabSz="914225" rtl="0" eaLnBrk="1" latinLnBrk="0" hangingPunct="1">
              <a:spcBef>
                <a:spcPts val="1765"/>
              </a:spcBef>
              <a:spcAft>
                <a:spcPts val="0"/>
              </a:spcAft>
              <a:buFont typeface="Arial" panose="020B0604020202020204" pitchFamily="34" charset="0"/>
              <a:buNone/>
            </a:pPr>
            <a:r>
              <a:rPr lang="en-US" dirty="0"/>
              <a:t>Edit Master text styles</a:t>
            </a:r>
          </a:p>
        </p:txBody>
      </p:sp>
      <p:sp>
        <p:nvSpPr>
          <p:cNvPr id="13" name="Date Placeholder 12"/>
          <p:cNvSpPr>
            <a:spLocks noGrp="1"/>
          </p:cNvSpPr>
          <p:nvPr>
            <p:ph type="dt" sz="half" idx="16"/>
          </p:nvPr>
        </p:nvSpPr>
        <p:spPr/>
        <p:txBody>
          <a:bodyPr/>
          <a:lstStyle/>
          <a:p>
            <a:fld id="{89DE2E20-C700-4A3A-A890-B84EE414F382}" type="datetime1">
              <a:rPr lang="en-US" smtClean="0"/>
              <a:t>4/17/2020</a:t>
            </a:fld>
            <a:endParaRPr lang="en-US"/>
          </a:p>
        </p:txBody>
      </p:sp>
      <p:sp>
        <p:nvSpPr>
          <p:cNvPr id="14" name="Footer Placeholder 13"/>
          <p:cNvSpPr>
            <a:spLocks noGrp="1"/>
          </p:cNvSpPr>
          <p:nvPr>
            <p:ph type="ftr" sz="quarter" idx="17"/>
          </p:nvPr>
        </p:nvSpPr>
        <p:spPr/>
        <p:txBody>
          <a:bodyPr/>
          <a:lstStyle/>
          <a:p>
            <a:r>
              <a:rPr lang="en-US"/>
              <a:t>Pre-release simulated screenshot shown, final experience may differ.</a:t>
            </a:r>
            <a:endParaRPr lang="en-US" dirty="0"/>
          </a:p>
        </p:txBody>
      </p:sp>
      <p:sp>
        <p:nvSpPr>
          <p:cNvPr id="15" name="Slide Number Placeholder 14"/>
          <p:cNvSpPr>
            <a:spLocks noGrp="1"/>
          </p:cNvSpPr>
          <p:nvPr>
            <p:ph type="sldNum" sz="quarter" idx="18"/>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17869389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ue Section Divider Lifestyle">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2" name="Title 1"/>
          <p:cNvSpPr>
            <a:spLocks noGrp="1"/>
          </p:cNvSpPr>
          <p:nvPr>
            <p:ph type="title" hasCustomPrompt="1"/>
          </p:nvPr>
        </p:nvSpPr>
        <p:spPr>
          <a:xfrm>
            <a:off x="381293" y="917254"/>
            <a:ext cx="5378549" cy="5023491"/>
          </a:xfrm>
        </p:spPr>
        <p:txBody>
          <a:bodyPr wrap="square" anchor="ctr"/>
          <a:lstStyle>
            <a:lvl1pPr>
              <a:defRPr sz="5294">
                <a:gradFill>
                  <a:gsLst>
                    <a:gs pos="2917">
                      <a:schemeClr val="bg1"/>
                    </a:gs>
                    <a:gs pos="100000">
                      <a:schemeClr val="bg1"/>
                    </a:gs>
                  </a:gsLst>
                  <a:lin ang="5400000" scaled="0"/>
                </a:gradFill>
                <a:latin typeface="Segoe UI Semilight" panose="020B0402040204020203" pitchFamily="34" charset="0"/>
                <a:cs typeface="Segoe UI Semilight" panose="020B0402040204020203" pitchFamily="34" charset="0"/>
              </a:defRPr>
            </a:lvl1pPr>
          </a:lstStyle>
          <a:p>
            <a:r>
              <a:rPr lang="en-US" dirty="0"/>
              <a:t>Click to add section divider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67807" y="6116477"/>
            <a:ext cx="1358520" cy="515207"/>
          </a:xfrm>
          <a:prstGeom prst="rect">
            <a:avLst/>
          </a:prstGeom>
        </p:spPr>
      </p:pic>
      <p:sp>
        <p:nvSpPr>
          <p:cNvPr id="8" name="Picture Placeholder 3"/>
          <p:cNvSpPr>
            <a:spLocks noGrp="1"/>
          </p:cNvSpPr>
          <p:nvPr>
            <p:ph type="pic" sz="quarter" idx="10"/>
          </p:nvPr>
        </p:nvSpPr>
        <p:spPr>
          <a:xfrm>
            <a:off x="6096001" y="0"/>
            <a:ext cx="6096000" cy="6858000"/>
          </a:xfrm>
          <a:blipFill>
            <a:blip r:embed="rId3"/>
            <a:stretch>
              <a:fillRect/>
            </a:stretch>
          </a:blipFill>
        </p:spPr>
        <p:txBody>
          <a:bodyPr anchor="ctr"/>
          <a:lstStyle>
            <a:lvl1pPr algn="ctr">
              <a:defRPr>
                <a:solidFill>
                  <a:schemeClr val="bg1">
                    <a:alpha val="0"/>
                  </a:schemeClr>
                </a:solidFill>
              </a:defRPr>
            </a:lvl1pPr>
          </a:lstStyle>
          <a:p>
            <a:endParaRPr lang="en-US"/>
          </a:p>
        </p:txBody>
      </p:sp>
    </p:spTree>
    <p:extLst>
      <p:ext uri="{BB962C8B-B14F-4D97-AF65-F5344CB8AC3E}">
        <p14:creationId xmlns:p14="http://schemas.microsoft.com/office/powerpoint/2010/main" val="187451244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ue Section Divider">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grpSp>
        <p:nvGrpSpPr>
          <p:cNvPr id="8" name="Group 7"/>
          <p:cNvGrpSpPr/>
          <p:nvPr userDrawn="1"/>
        </p:nvGrpSpPr>
        <p:grpSpPr>
          <a:xfrm>
            <a:off x="4111320" y="1977780"/>
            <a:ext cx="7984601" cy="3380945"/>
            <a:chOff x="4193760" y="2017152"/>
            <a:chExt cx="8144709" cy="3448251"/>
          </a:xfrm>
        </p:grpSpPr>
        <p:sp>
          <p:nvSpPr>
            <p:cNvPr id="10" name="Freeform 7"/>
            <p:cNvSpPr>
              <a:spLocks/>
            </p:cNvSpPr>
            <p:nvPr userDrawn="1"/>
          </p:nvSpPr>
          <p:spPr bwMode="auto">
            <a:xfrm>
              <a:off x="8457834" y="4384204"/>
              <a:ext cx="440202" cy="482679"/>
            </a:xfrm>
            <a:custGeom>
              <a:avLst/>
              <a:gdLst>
                <a:gd name="T0" fmla="*/ 158 w 163"/>
                <a:gd name="T1" fmla="*/ 110 h 180"/>
                <a:gd name="T2" fmla="*/ 39 w 163"/>
                <a:gd name="T3" fmla="*/ 0 h 180"/>
                <a:gd name="T4" fmla="*/ 8 w 163"/>
                <a:gd name="T5" fmla="*/ 40 h 180"/>
                <a:gd name="T6" fmla="*/ 15 w 163"/>
                <a:gd name="T7" fmla="*/ 77 h 180"/>
                <a:gd name="T8" fmla="*/ 163 w 163"/>
                <a:gd name="T9" fmla="*/ 180 h 180"/>
                <a:gd name="T10" fmla="*/ 158 w 163"/>
                <a:gd name="T11" fmla="*/ 110 h 180"/>
              </a:gdLst>
              <a:ahLst/>
              <a:cxnLst>
                <a:cxn ang="0">
                  <a:pos x="T0" y="T1"/>
                </a:cxn>
                <a:cxn ang="0">
                  <a:pos x="T2" y="T3"/>
                </a:cxn>
                <a:cxn ang="0">
                  <a:pos x="T4" y="T5"/>
                </a:cxn>
                <a:cxn ang="0">
                  <a:pos x="T6" y="T7"/>
                </a:cxn>
                <a:cxn ang="0">
                  <a:pos x="T8" y="T9"/>
                </a:cxn>
                <a:cxn ang="0">
                  <a:pos x="T10" y="T11"/>
                </a:cxn>
              </a:cxnLst>
              <a:rect l="0" t="0" r="r" b="b"/>
              <a:pathLst>
                <a:path w="163" h="180">
                  <a:moveTo>
                    <a:pt x="158" y="110"/>
                  </a:moveTo>
                  <a:cubicBezTo>
                    <a:pt x="39" y="0"/>
                    <a:pt x="39" y="0"/>
                    <a:pt x="39" y="0"/>
                  </a:cubicBezTo>
                  <a:cubicBezTo>
                    <a:pt x="8" y="40"/>
                    <a:pt x="8" y="40"/>
                    <a:pt x="8" y="40"/>
                  </a:cubicBezTo>
                  <a:cubicBezTo>
                    <a:pt x="0" y="52"/>
                    <a:pt x="3" y="69"/>
                    <a:pt x="15" y="77"/>
                  </a:cubicBezTo>
                  <a:cubicBezTo>
                    <a:pt x="163" y="180"/>
                    <a:pt x="163" y="180"/>
                    <a:pt x="163" y="180"/>
                  </a:cubicBezTo>
                  <a:lnTo>
                    <a:pt x="158" y="11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 name="Freeform 8"/>
            <p:cNvSpPr>
              <a:spLocks/>
            </p:cNvSpPr>
            <p:nvPr userDrawn="1"/>
          </p:nvSpPr>
          <p:spPr bwMode="auto">
            <a:xfrm>
              <a:off x="8538925" y="4384204"/>
              <a:ext cx="347528" cy="343668"/>
            </a:xfrm>
            <a:custGeom>
              <a:avLst/>
              <a:gdLst>
                <a:gd name="T0" fmla="*/ 89 w 90"/>
                <a:gd name="T1" fmla="*/ 76 h 89"/>
                <a:gd name="T2" fmla="*/ 6 w 90"/>
                <a:gd name="T3" fmla="*/ 0 h 89"/>
                <a:gd name="T4" fmla="*/ 0 w 90"/>
                <a:gd name="T5" fmla="*/ 8 h 89"/>
                <a:gd name="T6" fmla="*/ 90 w 90"/>
                <a:gd name="T7" fmla="*/ 89 h 89"/>
                <a:gd name="T8" fmla="*/ 89 w 90"/>
                <a:gd name="T9" fmla="*/ 76 h 89"/>
              </a:gdLst>
              <a:ahLst/>
              <a:cxnLst>
                <a:cxn ang="0">
                  <a:pos x="T0" y="T1"/>
                </a:cxn>
                <a:cxn ang="0">
                  <a:pos x="T2" y="T3"/>
                </a:cxn>
                <a:cxn ang="0">
                  <a:pos x="T4" y="T5"/>
                </a:cxn>
                <a:cxn ang="0">
                  <a:pos x="T6" y="T7"/>
                </a:cxn>
                <a:cxn ang="0">
                  <a:pos x="T8" y="T9"/>
                </a:cxn>
              </a:cxnLst>
              <a:rect l="0" t="0" r="r" b="b"/>
              <a:pathLst>
                <a:path w="90" h="89">
                  <a:moveTo>
                    <a:pt x="89" y="76"/>
                  </a:moveTo>
                  <a:lnTo>
                    <a:pt x="6" y="0"/>
                  </a:lnTo>
                  <a:lnTo>
                    <a:pt x="0" y="8"/>
                  </a:lnTo>
                  <a:lnTo>
                    <a:pt x="90" y="89"/>
                  </a:lnTo>
                  <a:lnTo>
                    <a:pt x="89" y="76"/>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9"/>
            <p:cNvSpPr>
              <a:spLocks/>
            </p:cNvSpPr>
            <p:nvPr userDrawn="1"/>
          </p:nvSpPr>
          <p:spPr bwMode="auto">
            <a:xfrm>
              <a:off x="8457834" y="4384204"/>
              <a:ext cx="135151" cy="216240"/>
            </a:xfrm>
            <a:custGeom>
              <a:avLst/>
              <a:gdLst>
                <a:gd name="T0" fmla="*/ 20 w 50"/>
                <a:gd name="T1" fmla="*/ 50 h 81"/>
                <a:gd name="T2" fmla="*/ 50 w 50"/>
                <a:gd name="T3" fmla="*/ 11 h 81"/>
                <a:gd name="T4" fmla="*/ 39 w 50"/>
                <a:gd name="T5" fmla="*/ 0 h 81"/>
                <a:gd name="T6" fmla="*/ 8 w 50"/>
                <a:gd name="T7" fmla="*/ 40 h 81"/>
                <a:gd name="T8" fmla="*/ 15 w 50"/>
                <a:gd name="T9" fmla="*/ 77 h 81"/>
                <a:gd name="T10" fmla="*/ 21 w 50"/>
                <a:gd name="T11" fmla="*/ 81 h 81"/>
                <a:gd name="T12" fmla="*/ 20 w 50"/>
                <a:gd name="T13" fmla="*/ 50 h 81"/>
              </a:gdLst>
              <a:ahLst/>
              <a:cxnLst>
                <a:cxn ang="0">
                  <a:pos x="T0" y="T1"/>
                </a:cxn>
                <a:cxn ang="0">
                  <a:pos x="T2" y="T3"/>
                </a:cxn>
                <a:cxn ang="0">
                  <a:pos x="T4" y="T5"/>
                </a:cxn>
                <a:cxn ang="0">
                  <a:pos x="T6" y="T7"/>
                </a:cxn>
                <a:cxn ang="0">
                  <a:pos x="T8" y="T9"/>
                </a:cxn>
                <a:cxn ang="0">
                  <a:pos x="T10" y="T11"/>
                </a:cxn>
                <a:cxn ang="0">
                  <a:pos x="T12" y="T13"/>
                </a:cxn>
              </a:cxnLst>
              <a:rect l="0" t="0" r="r" b="b"/>
              <a:pathLst>
                <a:path w="50" h="81">
                  <a:moveTo>
                    <a:pt x="20" y="50"/>
                  </a:moveTo>
                  <a:cubicBezTo>
                    <a:pt x="50" y="11"/>
                    <a:pt x="50" y="11"/>
                    <a:pt x="50" y="11"/>
                  </a:cubicBezTo>
                  <a:cubicBezTo>
                    <a:pt x="39" y="0"/>
                    <a:pt x="39" y="0"/>
                    <a:pt x="39" y="0"/>
                  </a:cubicBezTo>
                  <a:cubicBezTo>
                    <a:pt x="8" y="40"/>
                    <a:pt x="8" y="40"/>
                    <a:pt x="8" y="40"/>
                  </a:cubicBezTo>
                  <a:cubicBezTo>
                    <a:pt x="0" y="52"/>
                    <a:pt x="3" y="69"/>
                    <a:pt x="15" y="77"/>
                  </a:cubicBezTo>
                  <a:cubicBezTo>
                    <a:pt x="21" y="81"/>
                    <a:pt x="21" y="81"/>
                    <a:pt x="21" y="81"/>
                  </a:cubicBezTo>
                  <a:cubicBezTo>
                    <a:pt x="14" y="72"/>
                    <a:pt x="13" y="59"/>
                    <a:pt x="20" y="50"/>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Freeform 10"/>
            <p:cNvSpPr>
              <a:spLocks/>
            </p:cNvSpPr>
            <p:nvPr userDrawn="1"/>
          </p:nvSpPr>
          <p:spPr bwMode="auto">
            <a:xfrm>
              <a:off x="8882591" y="5125597"/>
              <a:ext cx="142874" cy="73368"/>
            </a:xfrm>
            <a:custGeom>
              <a:avLst/>
              <a:gdLst>
                <a:gd name="T0" fmla="*/ 27 w 53"/>
                <a:gd name="T1" fmla="*/ 0 h 27"/>
                <a:gd name="T2" fmla="*/ 0 w 53"/>
                <a:gd name="T3" fmla="*/ 27 h 27"/>
                <a:gd name="T4" fmla="*/ 53 w 53"/>
                <a:gd name="T5" fmla="*/ 27 h 27"/>
                <a:gd name="T6" fmla="*/ 27 w 53"/>
                <a:gd name="T7" fmla="*/ 0 h 27"/>
              </a:gdLst>
              <a:ahLst/>
              <a:cxnLst>
                <a:cxn ang="0">
                  <a:pos x="T0" y="T1"/>
                </a:cxn>
                <a:cxn ang="0">
                  <a:pos x="T2" y="T3"/>
                </a:cxn>
                <a:cxn ang="0">
                  <a:pos x="T4" y="T5"/>
                </a:cxn>
                <a:cxn ang="0">
                  <a:pos x="T6" y="T7"/>
                </a:cxn>
              </a:cxnLst>
              <a:rect l="0" t="0" r="r" b="b"/>
              <a:pathLst>
                <a:path w="53" h="27">
                  <a:moveTo>
                    <a:pt x="27" y="0"/>
                  </a:moveTo>
                  <a:cubicBezTo>
                    <a:pt x="12" y="0"/>
                    <a:pt x="0" y="12"/>
                    <a:pt x="0" y="27"/>
                  </a:cubicBezTo>
                  <a:cubicBezTo>
                    <a:pt x="53" y="27"/>
                    <a:pt x="53" y="27"/>
                    <a:pt x="53" y="27"/>
                  </a:cubicBezTo>
                  <a:cubicBezTo>
                    <a:pt x="53" y="12"/>
                    <a:pt x="42" y="0"/>
                    <a:pt x="27"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Rectangle 11"/>
            <p:cNvSpPr>
              <a:spLocks noChangeArrowheads="1"/>
            </p:cNvSpPr>
            <p:nvPr userDrawn="1"/>
          </p:nvSpPr>
          <p:spPr bwMode="auto">
            <a:xfrm>
              <a:off x="8882591" y="5198963"/>
              <a:ext cx="142874" cy="19693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12"/>
            <p:cNvSpPr>
              <a:spLocks/>
            </p:cNvSpPr>
            <p:nvPr userDrawn="1"/>
          </p:nvSpPr>
          <p:spPr bwMode="auto">
            <a:xfrm>
              <a:off x="8859422" y="4550244"/>
              <a:ext cx="189211" cy="864958"/>
            </a:xfrm>
            <a:custGeom>
              <a:avLst/>
              <a:gdLst>
                <a:gd name="T0" fmla="*/ 49 w 70"/>
                <a:gd name="T1" fmla="*/ 311 h 322"/>
                <a:gd name="T2" fmla="*/ 35 w 70"/>
                <a:gd name="T3" fmla="*/ 322 h 322"/>
                <a:gd name="T4" fmla="*/ 21 w 70"/>
                <a:gd name="T5" fmla="*/ 311 h 322"/>
                <a:gd name="T6" fmla="*/ 0 w 70"/>
                <a:gd name="T7" fmla="*/ 0 h 322"/>
                <a:gd name="T8" fmla="*/ 70 w 70"/>
                <a:gd name="T9" fmla="*/ 0 h 322"/>
                <a:gd name="T10" fmla="*/ 49 w 70"/>
                <a:gd name="T11" fmla="*/ 311 h 322"/>
              </a:gdLst>
              <a:ahLst/>
              <a:cxnLst>
                <a:cxn ang="0">
                  <a:pos x="T0" y="T1"/>
                </a:cxn>
                <a:cxn ang="0">
                  <a:pos x="T2" y="T3"/>
                </a:cxn>
                <a:cxn ang="0">
                  <a:pos x="T4" y="T5"/>
                </a:cxn>
                <a:cxn ang="0">
                  <a:pos x="T6" y="T7"/>
                </a:cxn>
                <a:cxn ang="0">
                  <a:pos x="T8" y="T9"/>
                </a:cxn>
                <a:cxn ang="0">
                  <a:pos x="T10" y="T11"/>
                </a:cxn>
              </a:cxnLst>
              <a:rect l="0" t="0" r="r" b="b"/>
              <a:pathLst>
                <a:path w="70" h="322">
                  <a:moveTo>
                    <a:pt x="49" y="311"/>
                  </a:moveTo>
                  <a:cubicBezTo>
                    <a:pt x="49" y="311"/>
                    <a:pt x="45" y="322"/>
                    <a:pt x="35" y="322"/>
                  </a:cubicBezTo>
                  <a:cubicBezTo>
                    <a:pt x="25" y="322"/>
                    <a:pt x="21" y="311"/>
                    <a:pt x="21" y="311"/>
                  </a:cubicBezTo>
                  <a:cubicBezTo>
                    <a:pt x="0" y="0"/>
                    <a:pt x="0" y="0"/>
                    <a:pt x="0" y="0"/>
                  </a:cubicBezTo>
                  <a:cubicBezTo>
                    <a:pt x="70" y="0"/>
                    <a:pt x="70" y="0"/>
                    <a:pt x="70" y="0"/>
                  </a:cubicBezTo>
                  <a:lnTo>
                    <a:pt x="49" y="31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13"/>
            <p:cNvSpPr>
              <a:spLocks/>
            </p:cNvSpPr>
            <p:nvPr userDrawn="1"/>
          </p:nvSpPr>
          <p:spPr bwMode="auto">
            <a:xfrm>
              <a:off x="8955959" y="4550244"/>
              <a:ext cx="92674" cy="864958"/>
            </a:xfrm>
            <a:custGeom>
              <a:avLst/>
              <a:gdLst>
                <a:gd name="T0" fmla="*/ 0 w 35"/>
                <a:gd name="T1" fmla="*/ 322 h 322"/>
                <a:gd name="T2" fmla="*/ 14 w 35"/>
                <a:gd name="T3" fmla="*/ 311 h 322"/>
                <a:gd name="T4" fmla="*/ 35 w 35"/>
                <a:gd name="T5" fmla="*/ 0 h 322"/>
                <a:gd name="T6" fmla="*/ 29 w 35"/>
                <a:gd name="T7" fmla="*/ 15 h 322"/>
                <a:gd name="T8" fmla="*/ 0 w 35"/>
                <a:gd name="T9" fmla="*/ 322 h 322"/>
              </a:gdLst>
              <a:ahLst/>
              <a:cxnLst>
                <a:cxn ang="0">
                  <a:pos x="T0" y="T1"/>
                </a:cxn>
                <a:cxn ang="0">
                  <a:pos x="T2" y="T3"/>
                </a:cxn>
                <a:cxn ang="0">
                  <a:pos x="T4" y="T5"/>
                </a:cxn>
                <a:cxn ang="0">
                  <a:pos x="T6" y="T7"/>
                </a:cxn>
                <a:cxn ang="0">
                  <a:pos x="T8" y="T9"/>
                </a:cxn>
              </a:cxnLst>
              <a:rect l="0" t="0" r="r" b="b"/>
              <a:pathLst>
                <a:path w="35" h="322">
                  <a:moveTo>
                    <a:pt x="0" y="322"/>
                  </a:moveTo>
                  <a:cubicBezTo>
                    <a:pt x="10" y="322"/>
                    <a:pt x="14" y="311"/>
                    <a:pt x="14" y="311"/>
                  </a:cubicBezTo>
                  <a:cubicBezTo>
                    <a:pt x="35" y="0"/>
                    <a:pt x="35" y="0"/>
                    <a:pt x="35" y="0"/>
                  </a:cubicBezTo>
                  <a:cubicBezTo>
                    <a:pt x="29" y="15"/>
                    <a:pt x="29" y="15"/>
                    <a:pt x="29" y="15"/>
                  </a:cubicBezTo>
                  <a:cubicBezTo>
                    <a:pt x="29" y="15"/>
                    <a:pt x="6" y="321"/>
                    <a:pt x="0" y="32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14"/>
            <p:cNvSpPr>
              <a:spLocks/>
            </p:cNvSpPr>
            <p:nvPr userDrawn="1"/>
          </p:nvSpPr>
          <p:spPr bwMode="auto">
            <a:xfrm>
              <a:off x="8859422" y="4550244"/>
              <a:ext cx="96537" cy="864958"/>
            </a:xfrm>
            <a:custGeom>
              <a:avLst/>
              <a:gdLst>
                <a:gd name="T0" fmla="*/ 35 w 35"/>
                <a:gd name="T1" fmla="*/ 322 h 322"/>
                <a:gd name="T2" fmla="*/ 21 w 35"/>
                <a:gd name="T3" fmla="*/ 311 h 322"/>
                <a:gd name="T4" fmla="*/ 0 w 35"/>
                <a:gd name="T5" fmla="*/ 0 h 322"/>
                <a:gd name="T6" fmla="*/ 6 w 35"/>
                <a:gd name="T7" fmla="*/ 15 h 322"/>
                <a:gd name="T8" fmla="*/ 35 w 35"/>
                <a:gd name="T9" fmla="*/ 322 h 322"/>
              </a:gdLst>
              <a:ahLst/>
              <a:cxnLst>
                <a:cxn ang="0">
                  <a:pos x="T0" y="T1"/>
                </a:cxn>
                <a:cxn ang="0">
                  <a:pos x="T2" y="T3"/>
                </a:cxn>
                <a:cxn ang="0">
                  <a:pos x="T4" y="T5"/>
                </a:cxn>
                <a:cxn ang="0">
                  <a:pos x="T6" y="T7"/>
                </a:cxn>
                <a:cxn ang="0">
                  <a:pos x="T8" y="T9"/>
                </a:cxn>
              </a:cxnLst>
              <a:rect l="0" t="0" r="r" b="b"/>
              <a:pathLst>
                <a:path w="35" h="322">
                  <a:moveTo>
                    <a:pt x="35" y="322"/>
                  </a:moveTo>
                  <a:cubicBezTo>
                    <a:pt x="25" y="322"/>
                    <a:pt x="21" y="311"/>
                    <a:pt x="21" y="311"/>
                  </a:cubicBezTo>
                  <a:cubicBezTo>
                    <a:pt x="0" y="0"/>
                    <a:pt x="0" y="0"/>
                    <a:pt x="0" y="0"/>
                  </a:cubicBezTo>
                  <a:cubicBezTo>
                    <a:pt x="6" y="15"/>
                    <a:pt x="6" y="15"/>
                    <a:pt x="6" y="15"/>
                  </a:cubicBezTo>
                  <a:cubicBezTo>
                    <a:pt x="6" y="15"/>
                    <a:pt x="29" y="321"/>
                    <a:pt x="35" y="322"/>
                  </a:cubicBez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Freeform 15"/>
            <p:cNvSpPr>
              <a:spLocks/>
            </p:cNvSpPr>
            <p:nvPr userDrawn="1"/>
          </p:nvSpPr>
          <p:spPr bwMode="auto">
            <a:xfrm>
              <a:off x="8338132" y="4117765"/>
              <a:ext cx="1231794" cy="486539"/>
            </a:xfrm>
            <a:custGeom>
              <a:avLst/>
              <a:gdLst>
                <a:gd name="T0" fmla="*/ 0 w 458"/>
                <a:gd name="T1" fmla="*/ 19 h 182"/>
                <a:gd name="T2" fmla="*/ 229 w 458"/>
                <a:gd name="T3" fmla="*/ 182 h 182"/>
                <a:gd name="T4" fmla="*/ 458 w 458"/>
                <a:gd name="T5" fmla="*/ 19 h 182"/>
                <a:gd name="T6" fmla="*/ 226 w 458"/>
                <a:gd name="T7" fmla="*/ 0 h 182"/>
                <a:gd name="T8" fmla="*/ 0 w 458"/>
                <a:gd name="T9" fmla="*/ 19 h 182"/>
              </a:gdLst>
              <a:ahLst/>
              <a:cxnLst>
                <a:cxn ang="0">
                  <a:pos x="T0" y="T1"/>
                </a:cxn>
                <a:cxn ang="0">
                  <a:pos x="T2" y="T3"/>
                </a:cxn>
                <a:cxn ang="0">
                  <a:pos x="T4" y="T5"/>
                </a:cxn>
                <a:cxn ang="0">
                  <a:pos x="T6" y="T7"/>
                </a:cxn>
                <a:cxn ang="0">
                  <a:pos x="T8" y="T9"/>
                </a:cxn>
              </a:cxnLst>
              <a:rect l="0" t="0" r="r" b="b"/>
              <a:pathLst>
                <a:path w="458" h="182">
                  <a:moveTo>
                    <a:pt x="0" y="19"/>
                  </a:moveTo>
                  <a:cubicBezTo>
                    <a:pt x="20" y="88"/>
                    <a:pt x="76" y="182"/>
                    <a:pt x="229" y="182"/>
                  </a:cubicBezTo>
                  <a:cubicBezTo>
                    <a:pt x="381" y="182"/>
                    <a:pt x="438" y="88"/>
                    <a:pt x="458" y="19"/>
                  </a:cubicBezTo>
                  <a:cubicBezTo>
                    <a:pt x="226" y="0"/>
                    <a:pt x="226" y="0"/>
                    <a:pt x="226" y="0"/>
                  </a:cubicBezTo>
                  <a:lnTo>
                    <a:pt x="0" y="19"/>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Freeform 16"/>
            <p:cNvSpPr>
              <a:spLocks/>
            </p:cNvSpPr>
            <p:nvPr userDrawn="1"/>
          </p:nvSpPr>
          <p:spPr bwMode="auto">
            <a:xfrm>
              <a:off x="8843976" y="4117765"/>
              <a:ext cx="725947" cy="486539"/>
            </a:xfrm>
            <a:custGeom>
              <a:avLst/>
              <a:gdLst>
                <a:gd name="T0" fmla="*/ 38 w 270"/>
                <a:gd name="T1" fmla="*/ 0 h 181"/>
                <a:gd name="T2" fmla="*/ 270 w 270"/>
                <a:gd name="T3" fmla="*/ 19 h 181"/>
                <a:gd name="T4" fmla="*/ 58 w 270"/>
                <a:gd name="T5" fmla="*/ 181 h 181"/>
                <a:gd name="T6" fmla="*/ 231 w 270"/>
                <a:gd name="T7" fmla="*/ 23 h 181"/>
                <a:gd name="T8" fmla="*/ 0 w 270"/>
                <a:gd name="T9" fmla="*/ 5 h 181"/>
                <a:gd name="T10" fmla="*/ 38 w 270"/>
                <a:gd name="T11" fmla="*/ 0 h 181"/>
              </a:gdLst>
              <a:ahLst/>
              <a:cxnLst>
                <a:cxn ang="0">
                  <a:pos x="T0" y="T1"/>
                </a:cxn>
                <a:cxn ang="0">
                  <a:pos x="T2" y="T3"/>
                </a:cxn>
                <a:cxn ang="0">
                  <a:pos x="T4" y="T5"/>
                </a:cxn>
                <a:cxn ang="0">
                  <a:pos x="T6" y="T7"/>
                </a:cxn>
                <a:cxn ang="0">
                  <a:pos x="T8" y="T9"/>
                </a:cxn>
                <a:cxn ang="0">
                  <a:pos x="T10" y="T11"/>
                </a:cxn>
              </a:cxnLst>
              <a:rect l="0" t="0" r="r" b="b"/>
              <a:pathLst>
                <a:path w="270" h="181">
                  <a:moveTo>
                    <a:pt x="38" y="0"/>
                  </a:moveTo>
                  <a:cubicBezTo>
                    <a:pt x="270" y="19"/>
                    <a:pt x="270" y="19"/>
                    <a:pt x="270" y="19"/>
                  </a:cubicBezTo>
                  <a:cubicBezTo>
                    <a:pt x="251" y="85"/>
                    <a:pt x="198" y="174"/>
                    <a:pt x="58" y="181"/>
                  </a:cubicBezTo>
                  <a:cubicBezTo>
                    <a:pt x="169" y="161"/>
                    <a:pt x="214" y="83"/>
                    <a:pt x="231" y="23"/>
                  </a:cubicBezTo>
                  <a:cubicBezTo>
                    <a:pt x="0" y="5"/>
                    <a:pt x="0" y="5"/>
                    <a:pt x="0" y="5"/>
                  </a:cubicBezTo>
                  <a:lnTo>
                    <a:pt x="38" y="0"/>
                  </a:ln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7"/>
            <p:cNvSpPr>
              <a:spLocks/>
            </p:cNvSpPr>
            <p:nvPr userDrawn="1"/>
          </p:nvSpPr>
          <p:spPr bwMode="auto">
            <a:xfrm>
              <a:off x="8874868" y="4978863"/>
              <a:ext cx="158319" cy="158319"/>
            </a:xfrm>
            <a:custGeom>
              <a:avLst/>
              <a:gdLst>
                <a:gd name="T0" fmla="*/ 56 w 60"/>
                <a:gd name="T1" fmla="*/ 60 h 60"/>
                <a:gd name="T2" fmla="*/ 54 w 60"/>
                <a:gd name="T3" fmla="*/ 59 h 60"/>
                <a:gd name="T4" fmla="*/ 1 w 60"/>
                <a:gd name="T5" fmla="*/ 6 h 60"/>
                <a:gd name="T6" fmla="*/ 1 w 60"/>
                <a:gd name="T7" fmla="*/ 1 h 60"/>
                <a:gd name="T8" fmla="*/ 6 w 60"/>
                <a:gd name="T9" fmla="*/ 1 h 60"/>
                <a:gd name="T10" fmla="*/ 59 w 60"/>
                <a:gd name="T11" fmla="*/ 54 h 60"/>
                <a:gd name="T12" fmla="*/ 59 w 60"/>
                <a:gd name="T13" fmla="*/ 59 h 60"/>
                <a:gd name="T14" fmla="*/ 56 w 60"/>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60">
                  <a:moveTo>
                    <a:pt x="56" y="60"/>
                  </a:moveTo>
                  <a:cubicBezTo>
                    <a:pt x="55" y="60"/>
                    <a:pt x="55" y="60"/>
                    <a:pt x="54" y="59"/>
                  </a:cubicBezTo>
                  <a:cubicBezTo>
                    <a:pt x="1" y="6"/>
                    <a:pt x="1" y="6"/>
                    <a:pt x="1" y="6"/>
                  </a:cubicBezTo>
                  <a:cubicBezTo>
                    <a:pt x="0" y="5"/>
                    <a:pt x="0" y="3"/>
                    <a:pt x="1" y="1"/>
                  </a:cubicBezTo>
                  <a:cubicBezTo>
                    <a:pt x="2" y="0"/>
                    <a:pt x="5" y="0"/>
                    <a:pt x="6" y="1"/>
                  </a:cubicBezTo>
                  <a:cubicBezTo>
                    <a:pt x="59" y="54"/>
                    <a:pt x="59" y="54"/>
                    <a:pt x="59" y="54"/>
                  </a:cubicBezTo>
                  <a:cubicBezTo>
                    <a:pt x="60" y="56"/>
                    <a:pt x="60" y="58"/>
                    <a:pt x="59" y="59"/>
                  </a:cubicBezTo>
                  <a:cubicBezTo>
                    <a:pt x="58" y="60"/>
                    <a:pt x="57" y="60"/>
                    <a:pt x="56" y="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8"/>
            <p:cNvSpPr>
              <a:spLocks/>
            </p:cNvSpPr>
            <p:nvPr userDrawn="1"/>
          </p:nvSpPr>
          <p:spPr bwMode="auto">
            <a:xfrm>
              <a:off x="8874868" y="4978863"/>
              <a:ext cx="158319" cy="158319"/>
            </a:xfrm>
            <a:custGeom>
              <a:avLst/>
              <a:gdLst>
                <a:gd name="T0" fmla="*/ 4 w 60"/>
                <a:gd name="T1" fmla="*/ 60 h 60"/>
                <a:gd name="T2" fmla="*/ 1 w 60"/>
                <a:gd name="T3" fmla="*/ 59 h 60"/>
                <a:gd name="T4" fmla="*/ 1 w 60"/>
                <a:gd name="T5" fmla="*/ 54 h 60"/>
                <a:gd name="T6" fmla="*/ 54 w 60"/>
                <a:gd name="T7" fmla="*/ 1 h 60"/>
                <a:gd name="T8" fmla="*/ 59 w 60"/>
                <a:gd name="T9" fmla="*/ 1 h 60"/>
                <a:gd name="T10" fmla="*/ 59 w 60"/>
                <a:gd name="T11" fmla="*/ 6 h 60"/>
                <a:gd name="T12" fmla="*/ 6 w 60"/>
                <a:gd name="T13" fmla="*/ 59 h 60"/>
                <a:gd name="T14" fmla="*/ 4 w 60"/>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60">
                  <a:moveTo>
                    <a:pt x="4" y="60"/>
                  </a:moveTo>
                  <a:cubicBezTo>
                    <a:pt x="3" y="60"/>
                    <a:pt x="2" y="60"/>
                    <a:pt x="1" y="59"/>
                  </a:cubicBezTo>
                  <a:cubicBezTo>
                    <a:pt x="0" y="58"/>
                    <a:pt x="0" y="56"/>
                    <a:pt x="1" y="54"/>
                  </a:cubicBezTo>
                  <a:cubicBezTo>
                    <a:pt x="54" y="1"/>
                    <a:pt x="54" y="1"/>
                    <a:pt x="54" y="1"/>
                  </a:cubicBezTo>
                  <a:cubicBezTo>
                    <a:pt x="55" y="0"/>
                    <a:pt x="57" y="0"/>
                    <a:pt x="59" y="1"/>
                  </a:cubicBezTo>
                  <a:cubicBezTo>
                    <a:pt x="60" y="3"/>
                    <a:pt x="60" y="5"/>
                    <a:pt x="59" y="6"/>
                  </a:cubicBezTo>
                  <a:cubicBezTo>
                    <a:pt x="6" y="59"/>
                    <a:pt x="6" y="59"/>
                    <a:pt x="6" y="59"/>
                  </a:cubicBezTo>
                  <a:cubicBezTo>
                    <a:pt x="5" y="60"/>
                    <a:pt x="4" y="60"/>
                    <a:pt x="4" y="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19"/>
            <p:cNvSpPr>
              <a:spLocks/>
            </p:cNvSpPr>
            <p:nvPr userDrawn="1"/>
          </p:nvSpPr>
          <p:spPr bwMode="auto">
            <a:xfrm>
              <a:off x="6990495" y="4557967"/>
              <a:ext cx="1197040" cy="675750"/>
            </a:xfrm>
            <a:custGeom>
              <a:avLst/>
              <a:gdLst>
                <a:gd name="T0" fmla="*/ 183 w 445"/>
                <a:gd name="T1" fmla="*/ 49 h 252"/>
                <a:gd name="T2" fmla="*/ 268 w 445"/>
                <a:gd name="T3" fmla="*/ 0 h 252"/>
                <a:gd name="T4" fmla="*/ 366 w 445"/>
                <a:gd name="T5" fmla="*/ 96 h 252"/>
                <a:gd name="T6" fmla="*/ 367 w 445"/>
                <a:gd name="T7" fmla="*/ 96 h 252"/>
                <a:gd name="T8" fmla="*/ 445 w 445"/>
                <a:gd name="T9" fmla="*/ 174 h 252"/>
                <a:gd name="T10" fmla="*/ 367 w 445"/>
                <a:gd name="T11" fmla="*/ 252 h 252"/>
                <a:gd name="T12" fmla="*/ 62 w 445"/>
                <a:gd name="T13" fmla="*/ 252 h 252"/>
                <a:gd name="T14" fmla="*/ 0 w 445"/>
                <a:gd name="T15" fmla="*/ 189 h 252"/>
                <a:gd name="T16" fmla="*/ 61 w 445"/>
                <a:gd name="T17" fmla="*/ 127 h 252"/>
                <a:gd name="T18" fmla="*/ 59 w 445"/>
                <a:gd name="T19" fmla="*/ 112 h 252"/>
                <a:gd name="T20" fmla="*/ 137 w 445"/>
                <a:gd name="T21" fmla="*/ 34 h 252"/>
                <a:gd name="T22" fmla="*/ 183 w 445"/>
                <a:gd name="T23" fmla="*/ 4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5" h="252">
                  <a:moveTo>
                    <a:pt x="183" y="49"/>
                  </a:moveTo>
                  <a:cubicBezTo>
                    <a:pt x="200" y="20"/>
                    <a:pt x="232" y="0"/>
                    <a:pt x="268" y="0"/>
                  </a:cubicBezTo>
                  <a:cubicBezTo>
                    <a:pt x="322" y="0"/>
                    <a:pt x="365" y="43"/>
                    <a:pt x="366" y="96"/>
                  </a:cubicBezTo>
                  <a:cubicBezTo>
                    <a:pt x="367" y="96"/>
                    <a:pt x="367" y="96"/>
                    <a:pt x="367" y="96"/>
                  </a:cubicBezTo>
                  <a:cubicBezTo>
                    <a:pt x="410" y="96"/>
                    <a:pt x="445" y="131"/>
                    <a:pt x="445" y="174"/>
                  </a:cubicBezTo>
                  <a:cubicBezTo>
                    <a:pt x="445" y="217"/>
                    <a:pt x="410" y="252"/>
                    <a:pt x="367" y="252"/>
                  </a:cubicBezTo>
                  <a:cubicBezTo>
                    <a:pt x="62" y="252"/>
                    <a:pt x="62" y="252"/>
                    <a:pt x="62" y="252"/>
                  </a:cubicBezTo>
                  <a:cubicBezTo>
                    <a:pt x="28" y="252"/>
                    <a:pt x="0" y="224"/>
                    <a:pt x="0" y="189"/>
                  </a:cubicBezTo>
                  <a:cubicBezTo>
                    <a:pt x="0" y="155"/>
                    <a:pt x="27" y="128"/>
                    <a:pt x="61" y="127"/>
                  </a:cubicBezTo>
                  <a:cubicBezTo>
                    <a:pt x="60" y="122"/>
                    <a:pt x="59" y="117"/>
                    <a:pt x="59" y="112"/>
                  </a:cubicBezTo>
                  <a:cubicBezTo>
                    <a:pt x="59" y="69"/>
                    <a:pt x="94" y="34"/>
                    <a:pt x="137" y="34"/>
                  </a:cubicBezTo>
                  <a:cubicBezTo>
                    <a:pt x="154" y="34"/>
                    <a:pt x="171" y="39"/>
                    <a:pt x="183" y="49"/>
                  </a:cubicBezTo>
                </a:path>
              </a:pathLst>
            </a:custGeom>
            <a:solidFill>
              <a:schemeClr val="bg1">
                <a:alpha val="60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 name="Freeform 20"/>
            <p:cNvSpPr>
              <a:spLocks/>
            </p:cNvSpPr>
            <p:nvPr userDrawn="1"/>
          </p:nvSpPr>
          <p:spPr bwMode="auto">
            <a:xfrm>
              <a:off x="6627521" y="4534798"/>
              <a:ext cx="390005" cy="220102"/>
            </a:xfrm>
            <a:custGeom>
              <a:avLst/>
              <a:gdLst>
                <a:gd name="T0" fmla="*/ 60 w 145"/>
                <a:gd name="T1" fmla="*/ 16 h 82"/>
                <a:gd name="T2" fmla="*/ 88 w 145"/>
                <a:gd name="T3" fmla="*/ 0 h 82"/>
                <a:gd name="T4" fmla="*/ 120 w 145"/>
                <a:gd name="T5" fmla="*/ 31 h 82"/>
                <a:gd name="T6" fmla="*/ 120 w 145"/>
                <a:gd name="T7" fmla="*/ 31 h 82"/>
                <a:gd name="T8" fmla="*/ 145 w 145"/>
                <a:gd name="T9" fmla="*/ 57 h 82"/>
                <a:gd name="T10" fmla="*/ 120 w 145"/>
                <a:gd name="T11" fmla="*/ 82 h 82"/>
                <a:gd name="T12" fmla="*/ 21 w 145"/>
                <a:gd name="T13" fmla="*/ 82 h 82"/>
                <a:gd name="T14" fmla="*/ 0 w 145"/>
                <a:gd name="T15" fmla="*/ 62 h 82"/>
                <a:gd name="T16" fmla="*/ 20 w 145"/>
                <a:gd name="T17" fmla="*/ 42 h 82"/>
                <a:gd name="T18" fmla="*/ 20 w 145"/>
                <a:gd name="T19" fmla="*/ 37 h 82"/>
                <a:gd name="T20" fmla="*/ 45 w 145"/>
                <a:gd name="T21" fmla="*/ 11 h 82"/>
                <a:gd name="T22" fmla="*/ 60 w 145"/>
                <a:gd name="T23" fmla="*/ 1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82">
                  <a:moveTo>
                    <a:pt x="60" y="16"/>
                  </a:moveTo>
                  <a:cubicBezTo>
                    <a:pt x="66" y="7"/>
                    <a:pt x="76" y="0"/>
                    <a:pt x="88" y="0"/>
                  </a:cubicBezTo>
                  <a:cubicBezTo>
                    <a:pt x="105" y="0"/>
                    <a:pt x="119" y="14"/>
                    <a:pt x="120" y="31"/>
                  </a:cubicBezTo>
                  <a:cubicBezTo>
                    <a:pt x="120" y="31"/>
                    <a:pt x="120" y="31"/>
                    <a:pt x="120" y="31"/>
                  </a:cubicBezTo>
                  <a:cubicBezTo>
                    <a:pt x="134" y="31"/>
                    <a:pt x="145" y="43"/>
                    <a:pt x="145" y="57"/>
                  </a:cubicBezTo>
                  <a:cubicBezTo>
                    <a:pt x="145" y="71"/>
                    <a:pt x="134" y="82"/>
                    <a:pt x="120" y="82"/>
                  </a:cubicBezTo>
                  <a:cubicBezTo>
                    <a:pt x="21" y="82"/>
                    <a:pt x="21" y="82"/>
                    <a:pt x="21" y="82"/>
                  </a:cubicBezTo>
                  <a:cubicBezTo>
                    <a:pt x="9" y="82"/>
                    <a:pt x="0" y="73"/>
                    <a:pt x="0" y="62"/>
                  </a:cubicBezTo>
                  <a:cubicBezTo>
                    <a:pt x="0" y="51"/>
                    <a:pt x="9" y="42"/>
                    <a:pt x="20" y="42"/>
                  </a:cubicBezTo>
                  <a:cubicBezTo>
                    <a:pt x="20" y="40"/>
                    <a:pt x="20" y="38"/>
                    <a:pt x="20" y="37"/>
                  </a:cubicBezTo>
                  <a:cubicBezTo>
                    <a:pt x="20" y="23"/>
                    <a:pt x="31" y="11"/>
                    <a:pt x="45" y="11"/>
                  </a:cubicBezTo>
                  <a:cubicBezTo>
                    <a:pt x="51" y="11"/>
                    <a:pt x="56" y="13"/>
                    <a:pt x="60" y="16"/>
                  </a:cubicBezTo>
                </a:path>
              </a:pathLst>
            </a:custGeom>
            <a:solidFill>
              <a:schemeClr val="bg1">
                <a:alpha val="60000"/>
              </a:schemeClr>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 name="Freeform 21"/>
            <p:cNvSpPr>
              <a:spLocks/>
            </p:cNvSpPr>
            <p:nvPr userDrawn="1"/>
          </p:nvSpPr>
          <p:spPr bwMode="auto">
            <a:xfrm>
              <a:off x="4193760" y="4853183"/>
              <a:ext cx="8144709" cy="612220"/>
            </a:xfrm>
            <a:custGeom>
              <a:avLst/>
              <a:gdLst>
                <a:gd name="T0" fmla="*/ 2536 w 4269"/>
                <a:gd name="T1" fmla="*/ 322 h 322"/>
                <a:gd name="T2" fmla="*/ 0 w 4269"/>
                <a:gd name="T3" fmla="*/ 141 h 322"/>
                <a:gd name="T4" fmla="*/ 1 w 4269"/>
                <a:gd name="T5" fmla="*/ 134 h 322"/>
                <a:gd name="T6" fmla="*/ 2536 w 4269"/>
                <a:gd name="T7" fmla="*/ 314 h 322"/>
                <a:gd name="T8" fmla="*/ 3440 w 4269"/>
                <a:gd name="T9" fmla="*/ 224 h 322"/>
                <a:gd name="T10" fmla="*/ 4269 w 4269"/>
                <a:gd name="T11" fmla="*/ 0 h 322"/>
                <a:gd name="T12" fmla="*/ 3735 w 4269"/>
                <a:gd name="T13" fmla="*/ 141 h 322"/>
                <a:gd name="T14" fmla="*/ 3442 w 4269"/>
                <a:gd name="T15" fmla="*/ 231 h 322"/>
                <a:gd name="T16" fmla="*/ 2536 w 4269"/>
                <a:gd name="T17" fmla="*/ 32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9" h="322">
                  <a:moveTo>
                    <a:pt x="2536" y="322"/>
                  </a:moveTo>
                  <a:cubicBezTo>
                    <a:pt x="1726" y="322"/>
                    <a:pt x="13" y="143"/>
                    <a:pt x="0" y="141"/>
                  </a:cubicBezTo>
                  <a:cubicBezTo>
                    <a:pt x="1" y="134"/>
                    <a:pt x="1" y="134"/>
                    <a:pt x="1" y="134"/>
                  </a:cubicBezTo>
                  <a:cubicBezTo>
                    <a:pt x="15" y="136"/>
                    <a:pt x="1727" y="314"/>
                    <a:pt x="2536" y="314"/>
                  </a:cubicBezTo>
                  <a:cubicBezTo>
                    <a:pt x="2769" y="314"/>
                    <a:pt x="3115" y="299"/>
                    <a:pt x="3440" y="224"/>
                  </a:cubicBezTo>
                  <a:cubicBezTo>
                    <a:pt x="3635" y="180"/>
                    <a:pt x="4268" y="0"/>
                    <a:pt x="4269" y="0"/>
                  </a:cubicBezTo>
                  <a:cubicBezTo>
                    <a:pt x="3735" y="141"/>
                    <a:pt x="3735" y="141"/>
                    <a:pt x="3735" y="141"/>
                  </a:cubicBezTo>
                  <a:cubicBezTo>
                    <a:pt x="3734" y="141"/>
                    <a:pt x="3637" y="187"/>
                    <a:pt x="3442" y="231"/>
                  </a:cubicBezTo>
                  <a:cubicBezTo>
                    <a:pt x="3263" y="272"/>
                    <a:pt x="2959" y="322"/>
                    <a:pt x="2536" y="322"/>
                  </a:cubicBezTo>
                  <a:close/>
                </a:path>
              </a:pathLst>
            </a:custGeom>
            <a:solidFill>
              <a:srgbClr val="106110"/>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 name="Freeform 22"/>
            <p:cNvSpPr>
              <a:spLocks/>
            </p:cNvSpPr>
            <p:nvPr userDrawn="1"/>
          </p:nvSpPr>
          <p:spPr bwMode="auto">
            <a:xfrm>
              <a:off x="8882591" y="5395897"/>
              <a:ext cx="142874" cy="69506"/>
            </a:xfrm>
            <a:custGeom>
              <a:avLst/>
              <a:gdLst>
                <a:gd name="T0" fmla="*/ 27 w 53"/>
                <a:gd name="T1" fmla="*/ 26 h 26"/>
                <a:gd name="T2" fmla="*/ 53 w 53"/>
                <a:gd name="T3" fmla="*/ 0 h 26"/>
                <a:gd name="T4" fmla="*/ 0 w 53"/>
                <a:gd name="T5" fmla="*/ 0 h 26"/>
                <a:gd name="T6" fmla="*/ 27 w 53"/>
                <a:gd name="T7" fmla="*/ 26 h 26"/>
              </a:gdLst>
              <a:ahLst/>
              <a:cxnLst>
                <a:cxn ang="0">
                  <a:pos x="T0" y="T1"/>
                </a:cxn>
                <a:cxn ang="0">
                  <a:pos x="T2" y="T3"/>
                </a:cxn>
                <a:cxn ang="0">
                  <a:pos x="T4" y="T5"/>
                </a:cxn>
                <a:cxn ang="0">
                  <a:pos x="T6" y="T7"/>
                </a:cxn>
              </a:cxnLst>
              <a:rect l="0" t="0" r="r" b="b"/>
              <a:pathLst>
                <a:path w="53" h="26">
                  <a:moveTo>
                    <a:pt x="27" y="26"/>
                  </a:moveTo>
                  <a:cubicBezTo>
                    <a:pt x="42" y="26"/>
                    <a:pt x="53" y="15"/>
                    <a:pt x="53" y="0"/>
                  </a:cubicBezTo>
                  <a:cubicBezTo>
                    <a:pt x="0" y="0"/>
                    <a:pt x="0" y="0"/>
                    <a:pt x="0" y="0"/>
                  </a:cubicBezTo>
                  <a:cubicBezTo>
                    <a:pt x="0" y="15"/>
                    <a:pt x="12" y="26"/>
                    <a:pt x="27" y="2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23"/>
            <p:cNvSpPr>
              <a:spLocks/>
            </p:cNvSpPr>
            <p:nvPr userDrawn="1"/>
          </p:nvSpPr>
          <p:spPr bwMode="auto">
            <a:xfrm>
              <a:off x="8338132" y="4117765"/>
              <a:ext cx="745255" cy="100397"/>
            </a:xfrm>
            <a:custGeom>
              <a:avLst/>
              <a:gdLst>
                <a:gd name="T0" fmla="*/ 221 w 277"/>
                <a:gd name="T1" fmla="*/ 4 h 37"/>
                <a:gd name="T2" fmla="*/ 277 w 277"/>
                <a:gd name="T3" fmla="*/ 4 h 37"/>
                <a:gd name="T4" fmla="*/ 226 w 277"/>
                <a:gd name="T5" fmla="*/ 0 h 37"/>
                <a:gd name="T6" fmla="*/ 0 w 277"/>
                <a:gd name="T7" fmla="*/ 19 h 37"/>
                <a:gd name="T8" fmla="*/ 6 w 277"/>
                <a:gd name="T9" fmla="*/ 37 h 37"/>
                <a:gd name="T10" fmla="*/ 221 w 277"/>
                <a:gd name="T11" fmla="*/ 4 h 37"/>
              </a:gdLst>
              <a:ahLst/>
              <a:cxnLst>
                <a:cxn ang="0">
                  <a:pos x="T0" y="T1"/>
                </a:cxn>
                <a:cxn ang="0">
                  <a:pos x="T2" y="T3"/>
                </a:cxn>
                <a:cxn ang="0">
                  <a:pos x="T4" y="T5"/>
                </a:cxn>
                <a:cxn ang="0">
                  <a:pos x="T6" y="T7"/>
                </a:cxn>
                <a:cxn ang="0">
                  <a:pos x="T8" y="T9"/>
                </a:cxn>
                <a:cxn ang="0">
                  <a:pos x="T10" y="T11"/>
                </a:cxn>
              </a:cxnLst>
              <a:rect l="0" t="0" r="r" b="b"/>
              <a:pathLst>
                <a:path w="277" h="37">
                  <a:moveTo>
                    <a:pt x="221" y="4"/>
                  </a:moveTo>
                  <a:cubicBezTo>
                    <a:pt x="277" y="4"/>
                    <a:pt x="277" y="4"/>
                    <a:pt x="277" y="4"/>
                  </a:cubicBezTo>
                  <a:cubicBezTo>
                    <a:pt x="226" y="0"/>
                    <a:pt x="226" y="0"/>
                    <a:pt x="226" y="0"/>
                  </a:cubicBezTo>
                  <a:cubicBezTo>
                    <a:pt x="0" y="19"/>
                    <a:pt x="0" y="19"/>
                    <a:pt x="0" y="19"/>
                  </a:cubicBezTo>
                  <a:cubicBezTo>
                    <a:pt x="2" y="25"/>
                    <a:pt x="4" y="31"/>
                    <a:pt x="6" y="37"/>
                  </a:cubicBezTo>
                  <a:lnTo>
                    <a:pt x="221" y="4"/>
                  </a:lnTo>
                  <a:close/>
                </a:path>
              </a:pathLst>
            </a:custGeom>
            <a:solidFill>
              <a:srgbClr val="8562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24"/>
            <p:cNvSpPr>
              <a:spLocks/>
            </p:cNvSpPr>
            <p:nvPr userDrawn="1"/>
          </p:nvSpPr>
          <p:spPr bwMode="auto">
            <a:xfrm>
              <a:off x="8778334" y="2017152"/>
              <a:ext cx="208517" cy="96537"/>
            </a:xfrm>
            <a:custGeom>
              <a:avLst/>
              <a:gdLst>
                <a:gd name="T0" fmla="*/ 77 w 77"/>
                <a:gd name="T1" fmla="*/ 24 h 36"/>
                <a:gd name="T2" fmla="*/ 65 w 77"/>
                <a:gd name="T3" fmla="*/ 36 h 36"/>
                <a:gd name="T4" fmla="*/ 12 w 77"/>
                <a:gd name="T5" fmla="*/ 36 h 36"/>
                <a:gd name="T6" fmla="*/ 0 w 77"/>
                <a:gd name="T7" fmla="*/ 24 h 36"/>
                <a:gd name="T8" fmla="*/ 0 w 77"/>
                <a:gd name="T9" fmla="*/ 11 h 36"/>
                <a:gd name="T10" fmla="*/ 12 w 77"/>
                <a:gd name="T11" fmla="*/ 0 h 36"/>
                <a:gd name="T12" fmla="*/ 65 w 77"/>
                <a:gd name="T13" fmla="*/ 0 h 36"/>
                <a:gd name="T14" fmla="*/ 77 w 77"/>
                <a:gd name="T15" fmla="*/ 11 h 36"/>
                <a:gd name="T16" fmla="*/ 77 w 77"/>
                <a:gd name="T1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36">
                  <a:moveTo>
                    <a:pt x="77" y="24"/>
                  </a:moveTo>
                  <a:cubicBezTo>
                    <a:pt x="77" y="31"/>
                    <a:pt x="71" y="36"/>
                    <a:pt x="65" y="36"/>
                  </a:cubicBezTo>
                  <a:cubicBezTo>
                    <a:pt x="12" y="36"/>
                    <a:pt x="12" y="36"/>
                    <a:pt x="12" y="36"/>
                  </a:cubicBezTo>
                  <a:cubicBezTo>
                    <a:pt x="6" y="36"/>
                    <a:pt x="0" y="31"/>
                    <a:pt x="0" y="24"/>
                  </a:cubicBezTo>
                  <a:cubicBezTo>
                    <a:pt x="0" y="11"/>
                    <a:pt x="0" y="11"/>
                    <a:pt x="0" y="11"/>
                  </a:cubicBezTo>
                  <a:cubicBezTo>
                    <a:pt x="0" y="5"/>
                    <a:pt x="6" y="0"/>
                    <a:pt x="12" y="0"/>
                  </a:cubicBezTo>
                  <a:cubicBezTo>
                    <a:pt x="65" y="0"/>
                    <a:pt x="65" y="0"/>
                    <a:pt x="65" y="0"/>
                  </a:cubicBezTo>
                  <a:cubicBezTo>
                    <a:pt x="71" y="0"/>
                    <a:pt x="77" y="5"/>
                    <a:pt x="77" y="11"/>
                  </a:cubicBezTo>
                  <a:lnTo>
                    <a:pt x="77" y="24"/>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25"/>
            <p:cNvSpPr>
              <a:spLocks/>
            </p:cNvSpPr>
            <p:nvPr userDrawn="1"/>
          </p:nvSpPr>
          <p:spPr bwMode="auto">
            <a:xfrm>
              <a:off x="8921205" y="2017152"/>
              <a:ext cx="65645" cy="247131"/>
            </a:xfrm>
            <a:custGeom>
              <a:avLst/>
              <a:gdLst>
                <a:gd name="T0" fmla="*/ 12 w 24"/>
                <a:gd name="T1" fmla="*/ 0 h 92"/>
                <a:gd name="T2" fmla="*/ 0 w 24"/>
                <a:gd name="T3" fmla="*/ 0 h 92"/>
                <a:gd name="T4" fmla="*/ 12 w 24"/>
                <a:gd name="T5" fmla="*/ 11 h 92"/>
                <a:gd name="T6" fmla="*/ 12 w 24"/>
                <a:gd name="T7" fmla="*/ 80 h 92"/>
                <a:gd name="T8" fmla="*/ 0 w 24"/>
                <a:gd name="T9" fmla="*/ 92 h 92"/>
                <a:gd name="T10" fmla="*/ 12 w 24"/>
                <a:gd name="T11" fmla="*/ 92 h 92"/>
                <a:gd name="T12" fmla="*/ 24 w 24"/>
                <a:gd name="T13" fmla="*/ 80 h 92"/>
                <a:gd name="T14" fmla="*/ 24 w 24"/>
                <a:gd name="T15" fmla="*/ 11 h 92"/>
                <a:gd name="T16" fmla="*/ 12 w 24"/>
                <a:gd name="T1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92">
                  <a:moveTo>
                    <a:pt x="12" y="0"/>
                  </a:moveTo>
                  <a:cubicBezTo>
                    <a:pt x="0" y="0"/>
                    <a:pt x="0" y="0"/>
                    <a:pt x="0" y="0"/>
                  </a:cubicBezTo>
                  <a:cubicBezTo>
                    <a:pt x="7" y="0"/>
                    <a:pt x="12" y="5"/>
                    <a:pt x="12" y="11"/>
                  </a:cubicBezTo>
                  <a:cubicBezTo>
                    <a:pt x="12" y="80"/>
                    <a:pt x="12" y="80"/>
                    <a:pt x="12" y="80"/>
                  </a:cubicBezTo>
                  <a:cubicBezTo>
                    <a:pt x="12" y="86"/>
                    <a:pt x="7" y="92"/>
                    <a:pt x="0" y="92"/>
                  </a:cubicBezTo>
                  <a:cubicBezTo>
                    <a:pt x="12" y="92"/>
                    <a:pt x="12" y="92"/>
                    <a:pt x="12" y="92"/>
                  </a:cubicBezTo>
                  <a:cubicBezTo>
                    <a:pt x="18" y="92"/>
                    <a:pt x="24" y="86"/>
                    <a:pt x="24" y="80"/>
                  </a:cubicBezTo>
                  <a:cubicBezTo>
                    <a:pt x="24" y="11"/>
                    <a:pt x="24" y="11"/>
                    <a:pt x="24" y="11"/>
                  </a:cubicBezTo>
                  <a:cubicBezTo>
                    <a:pt x="24" y="5"/>
                    <a:pt x="18" y="0"/>
                    <a:pt x="12" y="0"/>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26"/>
            <p:cNvSpPr>
              <a:spLocks/>
            </p:cNvSpPr>
            <p:nvPr userDrawn="1"/>
          </p:nvSpPr>
          <p:spPr bwMode="auto">
            <a:xfrm>
              <a:off x="8685659" y="2051906"/>
              <a:ext cx="397727" cy="247131"/>
            </a:xfrm>
            <a:custGeom>
              <a:avLst/>
              <a:gdLst>
                <a:gd name="T0" fmla="*/ 147 w 147"/>
                <a:gd name="T1" fmla="*/ 80 h 92"/>
                <a:gd name="T2" fmla="*/ 135 w 147"/>
                <a:gd name="T3" fmla="*/ 92 h 92"/>
                <a:gd name="T4" fmla="*/ 12 w 147"/>
                <a:gd name="T5" fmla="*/ 92 h 92"/>
                <a:gd name="T6" fmla="*/ 0 w 147"/>
                <a:gd name="T7" fmla="*/ 80 h 92"/>
                <a:gd name="T8" fmla="*/ 0 w 147"/>
                <a:gd name="T9" fmla="*/ 12 h 92"/>
                <a:gd name="T10" fmla="*/ 12 w 147"/>
                <a:gd name="T11" fmla="*/ 0 h 92"/>
                <a:gd name="T12" fmla="*/ 135 w 147"/>
                <a:gd name="T13" fmla="*/ 0 h 92"/>
                <a:gd name="T14" fmla="*/ 147 w 147"/>
                <a:gd name="T15" fmla="*/ 12 h 92"/>
                <a:gd name="T16" fmla="*/ 147 w 147"/>
                <a:gd name="T17" fmla="*/ 8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92">
                  <a:moveTo>
                    <a:pt x="147" y="80"/>
                  </a:moveTo>
                  <a:cubicBezTo>
                    <a:pt x="147" y="87"/>
                    <a:pt x="142" y="92"/>
                    <a:pt x="135" y="92"/>
                  </a:cubicBezTo>
                  <a:cubicBezTo>
                    <a:pt x="12" y="92"/>
                    <a:pt x="12" y="92"/>
                    <a:pt x="12" y="92"/>
                  </a:cubicBezTo>
                  <a:cubicBezTo>
                    <a:pt x="6" y="92"/>
                    <a:pt x="0" y="87"/>
                    <a:pt x="0" y="80"/>
                  </a:cubicBezTo>
                  <a:cubicBezTo>
                    <a:pt x="0" y="12"/>
                    <a:pt x="0" y="12"/>
                    <a:pt x="0" y="12"/>
                  </a:cubicBezTo>
                  <a:cubicBezTo>
                    <a:pt x="0" y="5"/>
                    <a:pt x="6" y="0"/>
                    <a:pt x="12" y="0"/>
                  </a:cubicBezTo>
                  <a:cubicBezTo>
                    <a:pt x="135" y="0"/>
                    <a:pt x="135" y="0"/>
                    <a:pt x="135" y="0"/>
                  </a:cubicBezTo>
                  <a:cubicBezTo>
                    <a:pt x="142" y="0"/>
                    <a:pt x="147" y="5"/>
                    <a:pt x="147" y="12"/>
                  </a:cubicBezTo>
                  <a:lnTo>
                    <a:pt x="147" y="8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Freeform 27"/>
            <p:cNvSpPr>
              <a:spLocks/>
            </p:cNvSpPr>
            <p:nvPr userDrawn="1"/>
          </p:nvSpPr>
          <p:spPr bwMode="auto">
            <a:xfrm>
              <a:off x="9021602" y="2051906"/>
              <a:ext cx="61783" cy="247131"/>
            </a:xfrm>
            <a:custGeom>
              <a:avLst/>
              <a:gdLst>
                <a:gd name="T0" fmla="*/ 11 w 23"/>
                <a:gd name="T1" fmla="*/ 0 h 92"/>
                <a:gd name="T2" fmla="*/ 0 w 23"/>
                <a:gd name="T3" fmla="*/ 0 h 92"/>
                <a:gd name="T4" fmla="*/ 11 w 23"/>
                <a:gd name="T5" fmla="*/ 12 h 92"/>
                <a:gd name="T6" fmla="*/ 11 w 23"/>
                <a:gd name="T7" fmla="*/ 80 h 92"/>
                <a:gd name="T8" fmla="*/ 0 w 23"/>
                <a:gd name="T9" fmla="*/ 92 h 92"/>
                <a:gd name="T10" fmla="*/ 11 w 23"/>
                <a:gd name="T11" fmla="*/ 92 h 92"/>
                <a:gd name="T12" fmla="*/ 23 w 23"/>
                <a:gd name="T13" fmla="*/ 80 h 92"/>
                <a:gd name="T14" fmla="*/ 23 w 23"/>
                <a:gd name="T15" fmla="*/ 12 h 92"/>
                <a:gd name="T16" fmla="*/ 11 w 23"/>
                <a:gd name="T1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92">
                  <a:moveTo>
                    <a:pt x="11" y="0"/>
                  </a:moveTo>
                  <a:cubicBezTo>
                    <a:pt x="0" y="0"/>
                    <a:pt x="0" y="0"/>
                    <a:pt x="0" y="0"/>
                  </a:cubicBezTo>
                  <a:cubicBezTo>
                    <a:pt x="6" y="0"/>
                    <a:pt x="11" y="5"/>
                    <a:pt x="11" y="12"/>
                  </a:cubicBezTo>
                  <a:cubicBezTo>
                    <a:pt x="11" y="80"/>
                    <a:pt x="11" y="80"/>
                    <a:pt x="11" y="80"/>
                  </a:cubicBezTo>
                  <a:cubicBezTo>
                    <a:pt x="11" y="87"/>
                    <a:pt x="6" y="92"/>
                    <a:pt x="0" y="92"/>
                  </a:cubicBezTo>
                  <a:cubicBezTo>
                    <a:pt x="11" y="92"/>
                    <a:pt x="11" y="92"/>
                    <a:pt x="11" y="92"/>
                  </a:cubicBezTo>
                  <a:cubicBezTo>
                    <a:pt x="18" y="92"/>
                    <a:pt x="23" y="87"/>
                    <a:pt x="23" y="80"/>
                  </a:cubicBezTo>
                  <a:cubicBezTo>
                    <a:pt x="23" y="12"/>
                    <a:pt x="23" y="12"/>
                    <a:pt x="23" y="12"/>
                  </a:cubicBezTo>
                  <a:cubicBezTo>
                    <a:pt x="23" y="5"/>
                    <a:pt x="18" y="0"/>
                    <a:pt x="11" y="0"/>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Oval 28"/>
            <p:cNvSpPr>
              <a:spLocks noChangeArrowheads="1"/>
            </p:cNvSpPr>
            <p:nvPr userDrawn="1"/>
          </p:nvSpPr>
          <p:spPr bwMode="auto">
            <a:xfrm>
              <a:off x="8782194" y="2086657"/>
              <a:ext cx="181488" cy="181488"/>
            </a:xfrm>
            <a:prstGeom prst="ellipse">
              <a:avLst/>
            </a:pr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Oval 29"/>
            <p:cNvSpPr>
              <a:spLocks noChangeArrowheads="1"/>
            </p:cNvSpPr>
            <p:nvPr userDrawn="1"/>
          </p:nvSpPr>
          <p:spPr bwMode="auto">
            <a:xfrm>
              <a:off x="8793779" y="2094380"/>
              <a:ext cx="158319" cy="16218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30"/>
            <p:cNvSpPr>
              <a:spLocks/>
            </p:cNvSpPr>
            <p:nvPr userDrawn="1"/>
          </p:nvSpPr>
          <p:spPr bwMode="auto">
            <a:xfrm>
              <a:off x="8813085" y="2094380"/>
              <a:ext cx="139011" cy="139011"/>
            </a:xfrm>
            <a:custGeom>
              <a:avLst/>
              <a:gdLst>
                <a:gd name="T0" fmla="*/ 51 w 51"/>
                <a:gd name="T1" fmla="*/ 30 h 51"/>
                <a:gd name="T2" fmla="*/ 21 w 51"/>
                <a:gd name="T3" fmla="*/ 0 h 51"/>
                <a:gd name="T4" fmla="*/ 0 w 51"/>
                <a:gd name="T5" fmla="*/ 9 h 51"/>
                <a:gd name="T6" fmla="*/ 42 w 51"/>
                <a:gd name="T7" fmla="*/ 51 h 51"/>
                <a:gd name="T8" fmla="*/ 51 w 51"/>
                <a:gd name="T9" fmla="*/ 30 h 51"/>
              </a:gdLst>
              <a:ahLst/>
              <a:cxnLst>
                <a:cxn ang="0">
                  <a:pos x="T0" y="T1"/>
                </a:cxn>
                <a:cxn ang="0">
                  <a:pos x="T2" y="T3"/>
                </a:cxn>
                <a:cxn ang="0">
                  <a:pos x="T4" y="T5"/>
                </a:cxn>
                <a:cxn ang="0">
                  <a:pos x="T6" y="T7"/>
                </a:cxn>
                <a:cxn ang="0">
                  <a:pos x="T8" y="T9"/>
                </a:cxn>
              </a:cxnLst>
              <a:rect l="0" t="0" r="r" b="b"/>
              <a:pathLst>
                <a:path w="51" h="51">
                  <a:moveTo>
                    <a:pt x="51" y="30"/>
                  </a:moveTo>
                  <a:cubicBezTo>
                    <a:pt x="51" y="14"/>
                    <a:pt x="38" y="0"/>
                    <a:pt x="21" y="0"/>
                  </a:cubicBezTo>
                  <a:cubicBezTo>
                    <a:pt x="13" y="0"/>
                    <a:pt x="6" y="4"/>
                    <a:pt x="0" y="9"/>
                  </a:cubicBezTo>
                  <a:cubicBezTo>
                    <a:pt x="42" y="51"/>
                    <a:pt x="42" y="51"/>
                    <a:pt x="42" y="51"/>
                  </a:cubicBezTo>
                  <a:cubicBezTo>
                    <a:pt x="48" y="46"/>
                    <a:pt x="51" y="38"/>
                    <a:pt x="51"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Oval 31"/>
            <p:cNvSpPr>
              <a:spLocks noChangeArrowheads="1"/>
            </p:cNvSpPr>
            <p:nvPr userDrawn="1"/>
          </p:nvSpPr>
          <p:spPr bwMode="auto">
            <a:xfrm>
              <a:off x="8894176" y="2144580"/>
              <a:ext cx="19308" cy="1930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Rectangle 32"/>
            <p:cNvSpPr>
              <a:spLocks noChangeArrowheads="1"/>
            </p:cNvSpPr>
            <p:nvPr userDrawn="1"/>
          </p:nvSpPr>
          <p:spPr bwMode="auto">
            <a:xfrm>
              <a:off x="8963682" y="2078934"/>
              <a:ext cx="57923" cy="34754"/>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Rectangle 33"/>
            <p:cNvSpPr>
              <a:spLocks noChangeArrowheads="1"/>
            </p:cNvSpPr>
            <p:nvPr userDrawn="1"/>
          </p:nvSpPr>
          <p:spPr bwMode="auto">
            <a:xfrm>
              <a:off x="8963682" y="2078934"/>
              <a:ext cx="19308" cy="34754"/>
            </a:xfrm>
            <a:prstGeom prst="rect">
              <a:avLst/>
            </a:prstGeom>
            <a:solidFill>
              <a:srgbClr val="C740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Oval 34"/>
            <p:cNvSpPr>
              <a:spLocks noChangeArrowheads="1"/>
            </p:cNvSpPr>
            <p:nvPr userDrawn="1"/>
          </p:nvSpPr>
          <p:spPr bwMode="auto">
            <a:xfrm>
              <a:off x="8816948" y="2121411"/>
              <a:ext cx="111982" cy="111982"/>
            </a:xfrm>
            <a:prstGeom prst="ellipse">
              <a:avLst/>
            </a:pr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Freeform 35"/>
            <p:cNvSpPr>
              <a:spLocks/>
            </p:cNvSpPr>
            <p:nvPr userDrawn="1"/>
          </p:nvSpPr>
          <p:spPr bwMode="auto">
            <a:xfrm>
              <a:off x="8793779" y="2121411"/>
              <a:ext cx="135151" cy="135151"/>
            </a:xfrm>
            <a:custGeom>
              <a:avLst/>
              <a:gdLst>
                <a:gd name="T0" fmla="*/ 8 w 50"/>
                <a:gd name="T1" fmla="*/ 0 h 51"/>
                <a:gd name="T2" fmla="*/ 0 w 50"/>
                <a:gd name="T3" fmla="*/ 21 h 51"/>
                <a:gd name="T4" fmla="*/ 29 w 50"/>
                <a:gd name="T5" fmla="*/ 51 h 51"/>
                <a:gd name="T6" fmla="*/ 50 w 50"/>
                <a:gd name="T7" fmla="*/ 42 h 51"/>
                <a:gd name="T8" fmla="*/ 44 w 50"/>
                <a:gd name="T9" fmla="*/ 36 h 51"/>
                <a:gd name="T10" fmla="*/ 29 w 50"/>
                <a:gd name="T11" fmla="*/ 42 h 51"/>
                <a:gd name="T12" fmla="*/ 9 w 50"/>
                <a:gd name="T13" fmla="*/ 21 h 51"/>
                <a:gd name="T14" fmla="*/ 15 w 50"/>
                <a:gd name="T15" fmla="*/ 7 h 51"/>
                <a:gd name="T16" fmla="*/ 8 w 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1">
                  <a:moveTo>
                    <a:pt x="8" y="0"/>
                  </a:moveTo>
                  <a:cubicBezTo>
                    <a:pt x="3" y="5"/>
                    <a:pt x="0" y="13"/>
                    <a:pt x="0" y="21"/>
                  </a:cubicBezTo>
                  <a:cubicBezTo>
                    <a:pt x="0" y="38"/>
                    <a:pt x="13" y="51"/>
                    <a:pt x="29" y="51"/>
                  </a:cubicBezTo>
                  <a:cubicBezTo>
                    <a:pt x="37" y="51"/>
                    <a:pt x="45" y="48"/>
                    <a:pt x="50" y="42"/>
                  </a:cubicBezTo>
                  <a:cubicBezTo>
                    <a:pt x="44" y="36"/>
                    <a:pt x="44" y="36"/>
                    <a:pt x="44" y="36"/>
                  </a:cubicBezTo>
                  <a:cubicBezTo>
                    <a:pt x="40" y="39"/>
                    <a:pt x="35" y="42"/>
                    <a:pt x="29" y="42"/>
                  </a:cubicBezTo>
                  <a:cubicBezTo>
                    <a:pt x="18" y="42"/>
                    <a:pt x="9" y="32"/>
                    <a:pt x="9" y="21"/>
                  </a:cubicBezTo>
                  <a:cubicBezTo>
                    <a:pt x="9" y="15"/>
                    <a:pt x="11" y="10"/>
                    <a:pt x="15" y="7"/>
                  </a:cubicBezTo>
                  <a:cubicBezTo>
                    <a:pt x="8" y="0"/>
                    <a:pt x="8" y="0"/>
                    <a:pt x="8" y="0"/>
                  </a:cubicBezTo>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36"/>
            <p:cNvSpPr>
              <a:spLocks/>
            </p:cNvSpPr>
            <p:nvPr userDrawn="1"/>
          </p:nvSpPr>
          <p:spPr bwMode="auto">
            <a:xfrm>
              <a:off x="8816948" y="2140717"/>
              <a:ext cx="92674" cy="92674"/>
            </a:xfrm>
            <a:custGeom>
              <a:avLst/>
              <a:gdLst>
                <a:gd name="T0" fmla="*/ 6 w 35"/>
                <a:gd name="T1" fmla="*/ 0 h 35"/>
                <a:gd name="T2" fmla="*/ 0 w 35"/>
                <a:gd name="T3" fmla="*/ 14 h 35"/>
                <a:gd name="T4" fmla="*/ 20 w 35"/>
                <a:gd name="T5" fmla="*/ 35 h 35"/>
                <a:gd name="T6" fmla="*/ 35 w 35"/>
                <a:gd name="T7" fmla="*/ 29 h 35"/>
                <a:gd name="T8" fmla="*/ 6 w 35"/>
                <a:gd name="T9" fmla="*/ 0 h 35"/>
              </a:gdLst>
              <a:ahLst/>
              <a:cxnLst>
                <a:cxn ang="0">
                  <a:pos x="T0" y="T1"/>
                </a:cxn>
                <a:cxn ang="0">
                  <a:pos x="T2" y="T3"/>
                </a:cxn>
                <a:cxn ang="0">
                  <a:pos x="T4" y="T5"/>
                </a:cxn>
                <a:cxn ang="0">
                  <a:pos x="T6" y="T7"/>
                </a:cxn>
                <a:cxn ang="0">
                  <a:pos x="T8" y="T9"/>
                </a:cxn>
              </a:cxnLst>
              <a:rect l="0" t="0" r="r" b="b"/>
              <a:pathLst>
                <a:path w="35" h="35">
                  <a:moveTo>
                    <a:pt x="6" y="0"/>
                  </a:moveTo>
                  <a:cubicBezTo>
                    <a:pt x="2" y="3"/>
                    <a:pt x="0" y="8"/>
                    <a:pt x="0" y="14"/>
                  </a:cubicBezTo>
                  <a:cubicBezTo>
                    <a:pt x="0" y="25"/>
                    <a:pt x="9" y="35"/>
                    <a:pt x="20" y="35"/>
                  </a:cubicBezTo>
                  <a:cubicBezTo>
                    <a:pt x="26" y="35"/>
                    <a:pt x="31" y="32"/>
                    <a:pt x="35" y="29"/>
                  </a:cubicBezTo>
                  <a:cubicBezTo>
                    <a:pt x="6" y="0"/>
                    <a:pt x="6" y="0"/>
                    <a:pt x="6" y="0"/>
                  </a:cubicBezTo>
                </a:path>
              </a:pathLst>
            </a:custGeom>
            <a:solidFill>
              <a:srgbClr val="A50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37"/>
            <p:cNvSpPr>
              <a:spLocks/>
            </p:cNvSpPr>
            <p:nvPr userDrawn="1"/>
          </p:nvSpPr>
          <p:spPr bwMode="auto">
            <a:xfrm>
              <a:off x="10017848" y="3326175"/>
              <a:ext cx="73368" cy="258716"/>
            </a:xfrm>
            <a:custGeom>
              <a:avLst/>
              <a:gdLst>
                <a:gd name="T0" fmla="*/ 15 w 27"/>
                <a:gd name="T1" fmla="*/ 0 h 96"/>
                <a:gd name="T2" fmla="*/ 0 w 27"/>
                <a:gd name="T3" fmla="*/ 0 h 96"/>
                <a:gd name="T4" fmla="*/ 12 w 27"/>
                <a:gd name="T5" fmla="*/ 14 h 96"/>
                <a:gd name="T6" fmla="*/ 11 w 27"/>
                <a:gd name="T7" fmla="*/ 96 h 96"/>
                <a:gd name="T8" fmla="*/ 27 w 27"/>
                <a:gd name="T9" fmla="*/ 96 h 96"/>
                <a:gd name="T10" fmla="*/ 27 w 27"/>
                <a:gd name="T11" fmla="*/ 28 h 96"/>
                <a:gd name="T12" fmla="*/ 27 w 27"/>
                <a:gd name="T13" fmla="*/ 28 h 96"/>
                <a:gd name="T14" fmla="*/ 27 w 27"/>
                <a:gd name="T15" fmla="*/ 13 h 96"/>
                <a:gd name="T16" fmla="*/ 15 w 27"/>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96">
                  <a:moveTo>
                    <a:pt x="15" y="0"/>
                  </a:moveTo>
                  <a:cubicBezTo>
                    <a:pt x="0" y="0"/>
                    <a:pt x="0" y="0"/>
                    <a:pt x="0" y="0"/>
                  </a:cubicBezTo>
                  <a:cubicBezTo>
                    <a:pt x="6" y="2"/>
                    <a:pt x="12" y="7"/>
                    <a:pt x="12" y="14"/>
                  </a:cubicBezTo>
                  <a:cubicBezTo>
                    <a:pt x="11" y="96"/>
                    <a:pt x="11" y="96"/>
                    <a:pt x="11" y="96"/>
                  </a:cubicBezTo>
                  <a:cubicBezTo>
                    <a:pt x="27" y="96"/>
                    <a:pt x="27" y="96"/>
                    <a:pt x="27" y="96"/>
                  </a:cubicBezTo>
                  <a:cubicBezTo>
                    <a:pt x="27" y="28"/>
                    <a:pt x="27" y="28"/>
                    <a:pt x="27" y="28"/>
                  </a:cubicBezTo>
                  <a:cubicBezTo>
                    <a:pt x="27" y="28"/>
                    <a:pt x="27" y="28"/>
                    <a:pt x="27" y="28"/>
                  </a:cubicBezTo>
                  <a:cubicBezTo>
                    <a:pt x="27" y="13"/>
                    <a:pt x="27" y="13"/>
                    <a:pt x="27" y="13"/>
                  </a:cubicBezTo>
                  <a:cubicBezTo>
                    <a:pt x="26" y="7"/>
                    <a:pt x="22" y="2"/>
                    <a:pt x="15" y="0"/>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Freeform 38"/>
            <p:cNvSpPr>
              <a:spLocks/>
            </p:cNvSpPr>
            <p:nvPr userDrawn="1"/>
          </p:nvSpPr>
          <p:spPr bwMode="auto">
            <a:xfrm>
              <a:off x="10017848" y="3584889"/>
              <a:ext cx="73368" cy="77228"/>
            </a:xfrm>
            <a:custGeom>
              <a:avLst/>
              <a:gdLst>
                <a:gd name="T0" fmla="*/ 12 w 28"/>
                <a:gd name="T1" fmla="*/ 0 h 29"/>
                <a:gd name="T2" fmla="*/ 12 w 28"/>
                <a:gd name="T3" fmla="*/ 14 h 29"/>
                <a:gd name="T4" fmla="*/ 0 w 28"/>
                <a:gd name="T5" fmla="*/ 28 h 29"/>
                <a:gd name="T6" fmla="*/ 1 w 28"/>
                <a:gd name="T7" fmla="*/ 29 h 29"/>
                <a:gd name="T8" fmla="*/ 16 w 28"/>
                <a:gd name="T9" fmla="*/ 28 h 29"/>
                <a:gd name="T10" fmla="*/ 28 w 28"/>
                <a:gd name="T11" fmla="*/ 14 h 29"/>
                <a:gd name="T12" fmla="*/ 28 w 28"/>
                <a:gd name="T13" fmla="*/ 0 h 29"/>
                <a:gd name="T14" fmla="*/ 12 w 2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9">
                  <a:moveTo>
                    <a:pt x="12" y="0"/>
                  </a:moveTo>
                  <a:cubicBezTo>
                    <a:pt x="12" y="14"/>
                    <a:pt x="12" y="14"/>
                    <a:pt x="12" y="14"/>
                  </a:cubicBezTo>
                  <a:cubicBezTo>
                    <a:pt x="12" y="21"/>
                    <a:pt x="7" y="27"/>
                    <a:pt x="0" y="28"/>
                  </a:cubicBezTo>
                  <a:cubicBezTo>
                    <a:pt x="1" y="29"/>
                    <a:pt x="1" y="29"/>
                    <a:pt x="1" y="29"/>
                  </a:cubicBezTo>
                  <a:cubicBezTo>
                    <a:pt x="16" y="28"/>
                    <a:pt x="16" y="28"/>
                    <a:pt x="16" y="28"/>
                  </a:cubicBezTo>
                  <a:cubicBezTo>
                    <a:pt x="23" y="27"/>
                    <a:pt x="28" y="21"/>
                    <a:pt x="28" y="14"/>
                  </a:cubicBezTo>
                  <a:cubicBezTo>
                    <a:pt x="28" y="0"/>
                    <a:pt x="28" y="0"/>
                    <a:pt x="28" y="0"/>
                  </a:cubicBezTo>
                  <a:lnTo>
                    <a:pt x="12" y="0"/>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Freeform 39"/>
            <p:cNvSpPr>
              <a:spLocks/>
            </p:cNvSpPr>
            <p:nvPr userDrawn="1"/>
          </p:nvSpPr>
          <p:spPr bwMode="auto">
            <a:xfrm>
              <a:off x="9762994" y="3584889"/>
              <a:ext cx="297331" cy="77228"/>
            </a:xfrm>
            <a:custGeom>
              <a:avLst/>
              <a:gdLst>
                <a:gd name="T0" fmla="*/ 0 w 110"/>
                <a:gd name="T1" fmla="*/ 14 h 29"/>
                <a:gd name="T2" fmla="*/ 15 w 110"/>
                <a:gd name="T3" fmla="*/ 29 h 29"/>
                <a:gd name="T4" fmla="*/ 96 w 110"/>
                <a:gd name="T5" fmla="*/ 29 h 29"/>
                <a:gd name="T6" fmla="*/ 110 w 110"/>
                <a:gd name="T7" fmla="*/ 14 h 29"/>
                <a:gd name="T8" fmla="*/ 110 w 110"/>
                <a:gd name="T9" fmla="*/ 0 h 29"/>
                <a:gd name="T10" fmla="*/ 0 w 110"/>
                <a:gd name="T11" fmla="*/ 0 h 29"/>
                <a:gd name="T12" fmla="*/ 0 w 110"/>
                <a:gd name="T13" fmla="*/ 14 h 29"/>
              </a:gdLst>
              <a:ahLst/>
              <a:cxnLst>
                <a:cxn ang="0">
                  <a:pos x="T0" y="T1"/>
                </a:cxn>
                <a:cxn ang="0">
                  <a:pos x="T2" y="T3"/>
                </a:cxn>
                <a:cxn ang="0">
                  <a:pos x="T4" y="T5"/>
                </a:cxn>
                <a:cxn ang="0">
                  <a:pos x="T6" y="T7"/>
                </a:cxn>
                <a:cxn ang="0">
                  <a:pos x="T8" y="T9"/>
                </a:cxn>
                <a:cxn ang="0">
                  <a:pos x="T10" y="T11"/>
                </a:cxn>
                <a:cxn ang="0">
                  <a:pos x="T12" y="T13"/>
                </a:cxn>
              </a:cxnLst>
              <a:rect l="0" t="0" r="r" b="b"/>
              <a:pathLst>
                <a:path w="110" h="29">
                  <a:moveTo>
                    <a:pt x="0" y="14"/>
                  </a:moveTo>
                  <a:cubicBezTo>
                    <a:pt x="0" y="22"/>
                    <a:pt x="7" y="29"/>
                    <a:pt x="15" y="29"/>
                  </a:cubicBezTo>
                  <a:cubicBezTo>
                    <a:pt x="96" y="29"/>
                    <a:pt x="96" y="29"/>
                    <a:pt x="96" y="29"/>
                  </a:cubicBezTo>
                  <a:cubicBezTo>
                    <a:pt x="104" y="29"/>
                    <a:pt x="110" y="22"/>
                    <a:pt x="110" y="14"/>
                  </a:cubicBezTo>
                  <a:cubicBezTo>
                    <a:pt x="110" y="0"/>
                    <a:pt x="110" y="0"/>
                    <a:pt x="110" y="0"/>
                  </a:cubicBezTo>
                  <a:cubicBezTo>
                    <a:pt x="0" y="0"/>
                    <a:pt x="0" y="0"/>
                    <a:pt x="0" y="0"/>
                  </a:cubicBez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Freeform 40"/>
            <p:cNvSpPr>
              <a:spLocks/>
            </p:cNvSpPr>
            <p:nvPr userDrawn="1"/>
          </p:nvSpPr>
          <p:spPr bwMode="auto">
            <a:xfrm>
              <a:off x="9762994" y="3326175"/>
              <a:ext cx="297331" cy="258716"/>
            </a:xfrm>
            <a:custGeom>
              <a:avLst/>
              <a:gdLst>
                <a:gd name="T0" fmla="*/ 96 w 110"/>
                <a:gd name="T1" fmla="*/ 0 h 96"/>
                <a:gd name="T2" fmla="*/ 15 w 110"/>
                <a:gd name="T3" fmla="*/ 0 h 96"/>
                <a:gd name="T4" fmla="*/ 0 w 110"/>
                <a:gd name="T5" fmla="*/ 15 h 96"/>
                <a:gd name="T6" fmla="*/ 0 w 110"/>
                <a:gd name="T7" fmla="*/ 96 h 96"/>
                <a:gd name="T8" fmla="*/ 110 w 110"/>
                <a:gd name="T9" fmla="*/ 96 h 96"/>
                <a:gd name="T10" fmla="*/ 110 w 110"/>
                <a:gd name="T11" fmla="*/ 15 h 96"/>
                <a:gd name="T12" fmla="*/ 96 w 110"/>
                <a:gd name="T13" fmla="*/ 0 h 96"/>
              </a:gdLst>
              <a:ahLst/>
              <a:cxnLst>
                <a:cxn ang="0">
                  <a:pos x="T0" y="T1"/>
                </a:cxn>
                <a:cxn ang="0">
                  <a:pos x="T2" y="T3"/>
                </a:cxn>
                <a:cxn ang="0">
                  <a:pos x="T4" y="T5"/>
                </a:cxn>
                <a:cxn ang="0">
                  <a:pos x="T6" y="T7"/>
                </a:cxn>
                <a:cxn ang="0">
                  <a:pos x="T8" y="T9"/>
                </a:cxn>
                <a:cxn ang="0">
                  <a:pos x="T10" y="T11"/>
                </a:cxn>
                <a:cxn ang="0">
                  <a:pos x="T12" y="T13"/>
                </a:cxn>
              </a:cxnLst>
              <a:rect l="0" t="0" r="r" b="b"/>
              <a:pathLst>
                <a:path w="110" h="96">
                  <a:moveTo>
                    <a:pt x="96" y="0"/>
                  </a:moveTo>
                  <a:cubicBezTo>
                    <a:pt x="15" y="0"/>
                    <a:pt x="15" y="0"/>
                    <a:pt x="15" y="0"/>
                  </a:cubicBezTo>
                  <a:cubicBezTo>
                    <a:pt x="7" y="0"/>
                    <a:pt x="0" y="7"/>
                    <a:pt x="0" y="15"/>
                  </a:cubicBezTo>
                  <a:cubicBezTo>
                    <a:pt x="0" y="96"/>
                    <a:pt x="0" y="96"/>
                    <a:pt x="0" y="96"/>
                  </a:cubicBezTo>
                  <a:cubicBezTo>
                    <a:pt x="110" y="96"/>
                    <a:pt x="110" y="96"/>
                    <a:pt x="110" y="96"/>
                  </a:cubicBezTo>
                  <a:cubicBezTo>
                    <a:pt x="110" y="15"/>
                    <a:pt x="110" y="15"/>
                    <a:pt x="110" y="15"/>
                  </a:cubicBezTo>
                  <a:cubicBezTo>
                    <a:pt x="110" y="7"/>
                    <a:pt x="104" y="0"/>
                    <a:pt x="96"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Oval 41"/>
            <p:cNvSpPr>
              <a:spLocks noChangeArrowheads="1"/>
            </p:cNvSpPr>
            <p:nvPr userDrawn="1"/>
          </p:nvSpPr>
          <p:spPr bwMode="auto">
            <a:xfrm>
              <a:off x="9824777" y="3372512"/>
              <a:ext cx="173765" cy="1699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Freeform 42"/>
            <p:cNvSpPr>
              <a:spLocks/>
            </p:cNvSpPr>
            <p:nvPr userDrawn="1"/>
          </p:nvSpPr>
          <p:spPr bwMode="auto">
            <a:xfrm>
              <a:off x="9886560" y="3407263"/>
              <a:ext cx="69506" cy="96537"/>
            </a:xfrm>
            <a:custGeom>
              <a:avLst/>
              <a:gdLst>
                <a:gd name="T0" fmla="*/ 18 w 18"/>
                <a:gd name="T1" fmla="*/ 12 h 25"/>
                <a:gd name="T2" fmla="*/ 0 w 18"/>
                <a:gd name="T3" fmla="*/ 25 h 25"/>
                <a:gd name="T4" fmla="*/ 0 w 18"/>
                <a:gd name="T5" fmla="*/ 0 h 25"/>
                <a:gd name="T6" fmla="*/ 18 w 18"/>
                <a:gd name="T7" fmla="*/ 12 h 25"/>
              </a:gdLst>
              <a:ahLst/>
              <a:cxnLst>
                <a:cxn ang="0">
                  <a:pos x="T0" y="T1"/>
                </a:cxn>
                <a:cxn ang="0">
                  <a:pos x="T2" y="T3"/>
                </a:cxn>
                <a:cxn ang="0">
                  <a:pos x="T4" y="T5"/>
                </a:cxn>
                <a:cxn ang="0">
                  <a:pos x="T6" y="T7"/>
                </a:cxn>
              </a:cxnLst>
              <a:rect l="0" t="0" r="r" b="b"/>
              <a:pathLst>
                <a:path w="18" h="25">
                  <a:moveTo>
                    <a:pt x="18" y="12"/>
                  </a:moveTo>
                  <a:lnTo>
                    <a:pt x="0" y="25"/>
                  </a:lnTo>
                  <a:lnTo>
                    <a:pt x="0" y="0"/>
                  </a:lnTo>
                  <a:lnTo>
                    <a:pt x="18" y="12"/>
                  </a:lnTo>
                  <a:close/>
                </a:path>
              </a:pathLst>
            </a:custGeom>
            <a:solidFill>
              <a:srgbClr val="D400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Freeform 43"/>
            <p:cNvSpPr>
              <a:spLocks/>
            </p:cNvSpPr>
            <p:nvPr userDrawn="1"/>
          </p:nvSpPr>
          <p:spPr bwMode="auto">
            <a:xfrm>
              <a:off x="9886560" y="3407263"/>
              <a:ext cx="69506" cy="96537"/>
            </a:xfrm>
            <a:custGeom>
              <a:avLst/>
              <a:gdLst>
                <a:gd name="T0" fmla="*/ 18 w 18"/>
                <a:gd name="T1" fmla="*/ 12 h 25"/>
                <a:gd name="T2" fmla="*/ 0 w 18"/>
                <a:gd name="T3" fmla="*/ 25 h 25"/>
                <a:gd name="T4" fmla="*/ 0 w 18"/>
                <a:gd name="T5" fmla="*/ 0 h 25"/>
                <a:gd name="T6" fmla="*/ 18 w 18"/>
                <a:gd name="T7" fmla="*/ 12 h 25"/>
              </a:gdLst>
              <a:ahLst/>
              <a:cxnLst>
                <a:cxn ang="0">
                  <a:pos x="T0" y="T1"/>
                </a:cxn>
                <a:cxn ang="0">
                  <a:pos x="T2" y="T3"/>
                </a:cxn>
                <a:cxn ang="0">
                  <a:pos x="T4" y="T5"/>
                </a:cxn>
                <a:cxn ang="0">
                  <a:pos x="T6" y="T7"/>
                </a:cxn>
              </a:cxnLst>
              <a:rect l="0" t="0" r="r" b="b"/>
              <a:pathLst>
                <a:path w="18" h="25">
                  <a:moveTo>
                    <a:pt x="18" y="12"/>
                  </a:moveTo>
                  <a:lnTo>
                    <a:pt x="0" y="25"/>
                  </a:lnTo>
                  <a:lnTo>
                    <a:pt x="0" y="0"/>
                  </a:lnTo>
                  <a:lnTo>
                    <a:pt x="18"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44"/>
            <p:cNvSpPr>
              <a:spLocks/>
            </p:cNvSpPr>
            <p:nvPr userDrawn="1"/>
          </p:nvSpPr>
          <p:spPr bwMode="auto">
            <a:xfrm>
              <a:off x="9828640" y="3395680"/>
              <a:ext cx="142874" cy="146734"/>
            </a:xfrm>
            <a:custGeom>
              <a:avLst/>
              <a:gdLst>
                <a:gd name="T0" fmla="*/ 9 w 54"/>
                <a:gd name="T1" fmla="*/ 0 h 54"/>
                <a:gd name="T2" fmla="*/ 0 w 54"/>
                <a:gd name="T3" fmla="*/ 22 h 54"/>
                <a:gd name="T4" fmla="*/ 31 w 54"/>
                <a:gd name="T5" fmla="*/ 54 h 54"/>
                <a:gd name="T6" fmla="*/ 54 w 54"/>
                <a:gd name="T7" fmla="*/ 45 h 54"/>
                <a:gd name="T8" fmla="*/ 38 w 54"/>
                <a:gd name="T9" fmla="*/ 29 h 54"/>
                <a:gd name="T10" fmla="*/ 22 w 54"/>
                <a:gd name="T11" fmla="*/ 40 h 54"/>
                <a:gd name="T12" fmla="*/ 22 w 54"/>
                <a:gd name="T13" fmla="*/ 13 h 54"/>
                <a:gd name="T14" fmla="*/ 9 w 54"/>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9" y="0"/>
                  </a:moveTo>
                  <a:cubicBezTo>
                    <a:pt x="3" y="6"/>
                    <a:pt x="0" y="14"/>
                    <a:pt x="0" y="22"/>
                  </a:cubicBezTo>
                  <a:cubicBezTo>
                    <a:pt x="0" y="40"/>
                    <a:pt x="14" y="54"/>
                    <a:pt x="31" y="54"/>
                  </a:cubicBezTo>
                  <a:cubicBezTo>
                    <a:pt x="40" y="54"/>
                    <a:pt x="48" y="51"/>
                    <a:pt x="54" y="45"/>
                  </a:cubicBezTo>
                  <a:cubicBezTo>
                    <a:pt x="38" y="29"/>
                    <a:pt x="38" y="29"/>
                    <a:pt x="38" y="29"/>
                  </a:cubicBezTo>
                  <a:cubicBezTo>
                    <a:pt x="22" y="40"/>
                    <a:pt x="22" y="40"/>
                    <a:pt x="22" y="40"/>
                  </a:cubicBezTo>
                  <a:cubicBezTo>
                    <a:pt x="22" y="13"/>
                    <a:pt x="22" y="13"/>
                    <a:pt x="22" y="13"/>
                  </a:cubicBezTo>
                  <a:cubicBezTo>
                    <a:pt x="9" y="0"/>
                    <a:pt x="9" y="0"/>
                    <a:pt x="9" y="0"/>
                  </a:cubicBezTo>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45"/>
            <p:cNvSpPr>
              <a:spLocks/>
            </p:cNvSpPr>
            <p:nvPr userDrawn="1"/>
          </p:nvSpPr>
          <p:spPr bwMode="auto">
            <a:xfrm>
              <a:off x="9886560" y="3430432"/>
              <a:ext cx="42477" cy="73368"/>
            </a:xfrm>
            <a:custGeom>
              <a:avLst/>
              <a:gdLst>
                <a:gd name="T0" fmla="*/ 0 w 11"/>
                <a:gd name="T1" fmla="*/ 0 h 19"/>
                <a:gd name="T2" fmla="*/ 0 w 11"/>
                <a:gd name="T3" fmla="*/ 19 h 19"/>
                <a:gd name="T4" fmla="*/ 11 w 11"/>
                <a:gd name="T5" fmla="*/ 11 h 19"/>
                <a:gd name="T6" fmla="*/ 0 w 11"/>
                <a:gd name="T7" fmla="*/ 0 h 19"/>
              </a:gdLst>
              <a:ahLst/>
              <a:cxnLst>
                <a:cxn ang="0">
                  <a:pos x="T0" y="T1"/>
                </a:cxn>
                <a:cxn ang="0">
                  <a:pos x="T2" y="T3"/>
                </a:cxn>
                <a:cxn ang="0">
                  <a:pos x="T4" y="T5"/>
                </a:cxn>
                <a:cxn ang="0">
                  <a:pos x="T6" y="T7"/>
                </a:cxn>
              </a:cxnLst>
              <a:rect l="0" t="0" r="r" b="b"/>
              <a:pathLst>
                <a:path w="11" h="19">
                  <a:moveTo>
                    <a:pt x="0" y="0"/>
                  </a:moveTo>
                  <a:lnTo>
                    <a:pt x="0" y="19"/>
                  </a:lnTo>
                  <a:lnTo>
                    <a:pt x="11" y="11"/>
                  </a:lnTo>
                  <a:lnTo>
                    <a:pt x="0" y="0"/>
                  </a:lnTo>
                  <a:close/>
                </a:path>
              </a:pathLst>
            </a:custGeom>
            <a:solidFill>
              <a:srgbClr val="EA4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46"/>
            <p:cNvSpPr>
              <a:spLocks/>
            </p:cNvSpPr>
            <p:nvPr userDrawn="1"/>
          </p:nvSpPr>
          <p:spPr bwMode="auto">
            <a:xfrm>
              <a:off x="9886560" y="3430432"/>
              <a:ext cx="42477" cy="73368"/>
            </a:xfrm>
            <a:custGeom>
              <a:avLst/>
              <a:gdLst>
                <a:gd name="T0" fmla="*/ 0 w 11"/>
                <a:gd name="T1" fmla="*/ 0 h 19"/>
                <a:gd name="T2" fmla="*/ 0 w 11"/>
                <a:gd name="T3" fmla="*/ 19 h 19"/>
                <a:gd name="T4" fmla="*/ 11 w 11"/>
                <a:gd name="T5" fmla="*/ 11 h 19"/>
                <a:gd name="T6" fmla="*/ 0 w 11"/>
                <a:gd name="T7" fmla="*/ 0 h 19"/>
              </a:gdLst>
              <a:ahLst/>
              <a:cxnLst>
                <a:cxn ang="0">
                  <a:pos x="T0" y="T1"/>
                </a:cxn>
                <a:cxn ang="0">
                  <a:pos x="T2" y="T3"/>
                </a:cxn>
                <a:cxn ang="0">
                  <a:pos x="T4" y="T5"/>
                </a:cxn>
                <a:cxn ang="0">
                  <a:pos x="T6" y="T7"/>
                </a:cxn>
              </a:cxnLst>
              <a:rect l="0" t="0" r="r" b="b"/>
              <a:pathLst>
                <a:path w="11" h="19">
                  <a:moveTo>
                    <a:pt x="0" y="0"/>
                  </a:moveTo>
                  <a:lnTo>
                    <a:pt x="0" y="19"/>
                  </a:lnTo>
                  <a:lnTo>
                    <a:pt x="11" y="1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Oval 47"/>
            <p:cNvSpPr>
              <a:spLocks noChangeArrowheads="1"/>
            </p:cNvSpPr>
            <p:nvPr userDrawn="1"/>
          </p:nvSpPr>
          <p:spPr bwMode="auto">
            <a:xfrm>
              <a:off x="9801609" y="3608057"/>
              <a:ext cx="27031" cy="27031"/>
            </a:xfrm>
            <a:prstGeom prst="ellipse">
              <a:avLst/>
            </a:pr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Oval 48"/>
            <p:cNvSpPr>
              <a:spLocks noChangeArrowheads="1"/>
            </p:cNvSpPr>
            <p:nvPr userDrawn="1"/>
          </p:nvSpPr>
          <p:spPr bwMode="auto">
            <a:xfrm>
              <a:off x="9847946" y="3608057"/>
              <a:ext cx="27031" cy="27031"/>
            </a:xfrm>
            <a:prstGeom prst="ellipse">
              <a:avLst/>
            </a:pr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Oval 49"/>
            <p:cNvSpPr>
              <a:spLocks noChangeArrowheads="1"/>
            </p:cNvSpPr>
            <p:nvPr userDrawn="1"/>
          </p:nvSpPr>
          <p:spPr bwMode="auto">
            <a:xfrm>
              <a:off x="9898145" y="3608057"/>
              <a:ext cx="27031" cy="27031"/>
            </a:xfrm>
            <a:prstGeom prst="ellipse">
              <a:avLst/>
            </a:pr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Oval 50"/>
            <p:cNvSpPr>
              <a:spLocks noChangeArrowheads="1"/>
            </p:cNvSpPr>
            <p:nvPr userDrawn="1"/>
          </p:nvSpPr>
          <p:spPr bwMode="auto">
            <a:xfrm>
              <a:off x="9944482" y="3608057"/>
              <a:ext cx="27031" cy="27031"/>
            </a:xfrm>
            <a:prstGeom prst="ellipse">
              <a:avLst/>
            </a:pr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Oval 51"/>
            <p:cNvSpPr>
              <a:spLocks noChangeArrowheads="1"/>
            </p:cNvSpPr>
            <p:nvPr userDrawn="1"/>
          </p:nvSpPr>
          <p:spPr bwMode="auto">
            <a:xfrm>
              <a:off x="9998542" y="3608057"/>
              <a:ext cx="23169" cy="27031"/>
            </a:xfrm>
            <a:prstGeom prst="ellipse">
              <a:avLst/>
            </a:pr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52"/>
            <p:cNvSpPr>
              <a:spLocks/>
            </p:cNvSpPr>
            <p:nvPr userDrawn="1"/>
          </p:nvSpPr>
          <p:spPr bwMode="auto">
            <a:xfrm>
              <a:off x="9654875" y="2550028"/>
              <a:ext cx="417033" cy="173765"/>
            </a:xfrm>
            <a:custGeom>
              <a:avLst/>
              <a:gdLst>
                <a:gd name="T0" fmla="*/ 0 w 155"/>
                <a:gd name="T1" fmla="*/ 0 h 64"/>
                <a:gd name="T2" fmla="*/ 0 w 155"/>
                <a:gd name="T3" fmla="*/ 48 h 64"/>
                <a:gd name="T4" fmla="*/ 77 w 155"/>
                <a:gd name="T5" fmla="*/ 64 h 64"/>
                <a:gd name="T6" fmla="*/ 155 w 155"/>
                <a:gd name="T7" fmla="*/ 48 h 64"/>
                <a:gd name="T8" fmla="*/ 155 w 155"/>
                <a:gd name="T9" fmla="*/ 0 h 64"/>
                <a:gd name="T10" fmla="*/ 77 w 155"/>
                <a:gd name="T11" fmla="*/ 14 h 64"/>
                <a:gd name="T12" fmla="*/ 0 w 155"/>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155" h="64">
                  <a:moveTo>
                    <a:pt x="0" y="0"/>
                  </a:moveTo>
                  <a:cubicBezTo>
                    <a:pt x="0" y="48"/>
                    <a:pt x="0" y="48"/>
                    <a:pt x="0" y="48"/>
                  </a:cubicBezTo>
                  <a:cubicBezTo>
                    <a:pt x="0" y="48"/>
                    <a:pt x="24" y="64"/>
                    <a:pt x="77" y="64"/>
                  </a:cubicBezTo>
                  <a:cubicBezTo>
                    <a:pt x="130" y="64"/>
                    <a:pt x="155" y="48"/>
                    <a:pt x="155" y="48"/>
                  </a:cubicBezTo>
                  <a:cubicBezTo>
                    <a:pt x="155" y="0"/>
                    <a:pt x="155" y="0"/>
                    <a:pt x="155" y="0"/>
                  </a:cubicBezTo>
                  <a:cubicBezTo>
                    <a:pt x="77" y="14"/>
                    <a:pt x="77" y="14"/>
                    <a:pt x="77" y="14"/>
                  </a:cubicBezTo>
                  <a:lnTo>
                    <a:pt x="0" y="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53"/>
            <p:cNvSpPr>
              <a:spLocks/>
            </p:cNvSpPr>
            <p:nvPr userDrawn="1"/>
          </p:nvSpPr>
          <p:spPr bwMode="auto">
            <a:xfrm>
              <a:off x="9508141" y="2515276"/>
              <a:ext cx="706641" cy="96537"/>
            </a:xfrm>
            <a:custGeom>
              <a:avLst/>
              <a:gdLst>
                <a:gd name="T0" fmla="*/ 92 w 183"/>
                <a:gd name="T1" fmla="*/ 16 h 25"/>
                <a:gd name="T2" fmla="*/ 0 w 183"/>
                <a:gd name="T3" fmla="*/ 0 h 25"/>
                <a:gd name="T4" fmla="*/ 0 w 183"/>
                <a:gd name="T5" fmla="*/ 7 h 25"/>
                <a:gd name="T6" fmla="*/ 92 w 183"/>
                <a:gd name="T7" fmla="*/ 25 h 25"/>
                <a:gd name="T8" fmla="*/ 183 w 183"/>
                <a:gd name="T9" fmla="*/ 7 h 25"/>
                <a:gd name="T10" fmla="*/ 183 w 183"/>
                <a:gd name="T11" fmla="*/ 0 h 25"/>
                <a:gd name="T12" fmla="*/ 92 w 183"/>
                <a:gd name="T13" fmla="*/ 16 h 25"/>
              </a:gdLst>
              <a:ahLst/>
              <a:cxnLst>
                <a:cxn ang="0">
                  <a:pos x="T0" y="T1"/>
                </a:cxn>
                <a:cxn ang="0">
                  <a:pos x="T2" y="T3"/>
                </a:cxn>
                <a:cxn ang="0">
                  <a:pos x="T4" y="T5"/>
                </a:cxn>
                <a:cxn ang="0">
                  <a:pos x="T6" y="T7"/>
                </a:cxn>
                <a:cxn ang="0">
                  <a:pos x="T8" y="T9"/>
                </a:cxn>
                <a:cxn ang="0">
                  <a:pos x="T10" y="T11"/>
                </a:cxn>
                <a:cxn ang="0">
                  <a:pos x="T12" y="T13"/>
                </a:cxn>
              </a:cxnLst>
              <a:rect l="0" t="0" r="r" b="b"/>
              <a:pathLst>
                <a:path w="183" h="25">
                  <a:moveTo>
                    <a:pt x="92" y="16"/>
                  </a:moveTo>
                  <a:lnTo>
                    <a:pt x="0" y="0"/>
                  </a:lnTo>
                  <a:lnTo>
                    <a:pt x="0" y="7"/>
                  </a:lnTo>
                  <a:lnTo>
                    <a:pt x="92" y="25"/>
                  </a:lnTo>
                  <a:lnTo>
                    <a:pt x="183" y="7"/>
                  </a:lnTo>
                  <a:lnTo>
                    <a:pt x="183" y="0"/>
                  </a:lnTo>
                  <a:lnTo>
                    <a:pt x="92" y="16"/>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54"/>
            <p:cNvSpPr>
              <a:spLocks/>
            </p:cNvSpPr>
            <p:nvPr userDrawn="1"/>
          </p:nvSpPr>
          <p:spPr bwMode="auto">
            <a:xfrm>
              <a:off x="9508141" y="2445771"/>
              <a:ext cx="706641" cy="142874"/>
            </a:xfrm>
            <a:custGeom>
              <a:avLst/>
              <a:gdLst>
                <a:gd name="T0" fmla="*/ 92 w 183"/>
                <a:gd name="T1" fmla="*/ 0 h 37"/>
                <a:gd name="T2" fmla="*/ 0 w 183"/>
                <a:gd name="T3" fmla="*/ 18 h 37"/>
                <a:gd name="T4" fmla="*/ 92 w 183"/>
                <a:gd name="T5" fmla="*/ 37 h 37"/>
                <a:gd name="T6" fmla="*/ 183 w 183"/>
                <a:gd name="T7" fmla="*/ 18 h 37"/>
                <a:gd name="T8" fmla="*/ 92 w 183"/>
                <a:gd name="T9" fmla="*/ 0 h 37"/>
              </a:gdLst>
              <a:ahLst/>
              <a:cxnLst>
                <a:cxn ang="0">
                  <a:pos x="T0" y="T1"/>
                </a:cxn>
                <a:cxn ang="0">
                  <a:pos x="T2" y="T3"/>
                </a:cxn>
                <a:cxn ang="0">
                  <a:pos x="T4" y="T5"/>
                </a:cxn>
                <a:cxn ang="0">
                  <a:pos x="T6" y="T7"/>
                </a:cxn>
                <a:cxn ang="0">
                  <a:pos x="T8" y="T9"/>
                </a:cxn>
              </a:cxnLst>
              <a:rect l="0" t="0" r="r" b="b"/>
              <a:pathLst>
                <a:path w="183" h="37">
                  <a:moveTo>
                    <a:pt x="92" y="0"/>
                  </a:moveTo>
                  <a:lnTo>
                    <a:pt x="0" y="18"/>
                  </a:lnTo>
                  <a:lnTo>
                    <a:pt x="92" y="37"/>
                  </a:lnTo>
                  <a:lnTo>
                    <a:pt x="183" y="18"/>
                  </a:lnTo>
                  <a:lnTo>
                    <a:pt x="92" y="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Freeform 55"/>
            <p:cNvSpPr>
              <a:spLocks/>
            </p:cNvSpPr>
            <p:nvPr userDrawn="1"/>
          </p:nvSpPr>
          <p:spPr bwMode="auto">
            <a:xfrm>
              <a:off x="9855669" y="2511414"/>
              <a:ext cx="185348" cy="127428"/>
            </a:xfrm>
            <a:custGeom>
              <a:avLst/>
              <a:gdLst>
                <a:gd name="T0" fmla="*/ 66 w 68"/>
                <a:gd name="T1" fmla="*/ 47 h 47"/>
                <a:gd name="T2" fmla="*/ 63 w 68"/>
                <a:gd name="T3" fmla="*/ 45 h 47"/>
                <a:gd name="T4" fmla="*/ 63 w 68"/>
                <a:gd name="T5" fmla="*/ 18 h 47"/>
                <a:gd name="T6" fmla="*/ 2 w 68"/>
                <a:gd name="T7" fmla="*/ 4 h 47"/>
                <a:gd name="T8" fmla="*/ 0 w 68"/>
                <a:gd name="T9" fmla="*/ 2 h 47"/>
                <a:gd name="T10" fmla="*/ 3 w 68"/>
                <a:gd name="T11" fmla="*/ 0 h 47"/>
                <a:gd name="T12" fmla="*/ 66 w 68"/>
                <a:gd name="T13" fmla="*/ 14 h 47"/>
                <a:gd name="T14" fmla="*/ 68 w 68"/>
                <a:gd name="T15" fmla="*/ 16 h 47"/>
                <a:gd name="T16" fmla="*/ 68 w 68"/>
                <a:gd name="T17" fmla="*/ 45 h 47"/>
                <a:gd name="T18" fmla="*/ 66 w 68"/>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7">
                  <a:moveTo>
                    <a:pt x="66" y="47"/>
                  </a:moveTo>
                  <a:cubicBezTo>
                    <a:pt x="64" y="47"/>
                    <a:pt x="63" y="46"/>
                    <a:pt x="63" y="45"/>
                  </a:cubicBezTo>
                  <a:cubicBezTo>
                    <a:pt x="63" y="18"/>
                    <a:pt x="63" y="18"/>
                    <a:pt x="63" y="18"/>
                  </a:cubicBezTo>
                  <a:cubicBezTo>
                    <a:pt x="2" y="4"/>
                    <a:pt x="2" y="4"/>
                    <a:pt x="2" y="4"/>
                  </a:cubicBezTo>
                  <a:cubicBezTo>
                    <a:pt x="1" y="4"/>
                    <a:pt x="0" y="3"/>
                    <a:pt x="0" y="2"/>
                  </a:cubicBezTo>
                  <a:cubicBezTo>
                    <a:pt x="0" y="0"/>
                    <a:pt x="2" y="0"/>
                    <a:pt x="3" y="0"/>
                  </a:cubicBezTo>
                  <a:cubicBezTo>
                    <a:pt x="66" y="14"/>
                    <a:pt x="66" y="14"/>
                    <a:pt x="66" y="14"/>
                  </a:cubicBezTo>
                  <a:cubicBezTo>
                    <a:pt x="67" y="14"/>
                    <a:pt x="68" y="15"/>
                    <a:pt x="68" y="16"/>
                  </a:cubicBezTo>
                  <a:cubicBezTo>
                    <a:pt x="68" y="45"/>
                    <a:pt x="68" y="45"/>
                    <a:pt x="68" y="45"/>
                  </a:cubicBezTo>
                  <a:cubicBezTo>
                    <a:pt x="68" y="46"/>
                    <a:pt x="67" y="47"/>
                    <a:pt x="66"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Oval 56"/>
            <p:cNvSpPr>
              <a:spLocks noChangeArrowheads="1"/>
            </p:cNvSpPr>
            <p:nvPr userDrawn="1"/>
          </p:nvSpPr>
          <p:spPr bwMode="auto">
            <a:xfrm>
              <a:off x="10021711" y="2623396"/>
              <a:ext cx="23169" cy="1930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57"/>
            <p:cNvSpPr>
              <a:spLocks/>
            </p:cNvSpPr>
            <p:nvPr userDrawn="1"/>
          </p:nvSpPr>
          <p:spPr bwMode="auto">
            <a:xfrm>
              <a:off x="10021711" y="2631119"/>
              <a:ext cx="23169" cy="30891"/>
            </a:xfrm>
            <a:custGeom>
              <a:avLst/>
              <a:gdLst>
                <a:gd name="T0" fmla="*/ 6 w 6"/>
                <a:gd name="T1" fmla="*/ 8 h 8"/>
                <a:gd name="T2" fmla="*/ 0 w 6"/>
                <a:gd name="T3" fmla="*/ 8 h 8"/>
                <a:gd name="T4" fmla="*/ 2 w 6"/>
                <a:gd name="T5" fmla="*/ 0 h 8"/>
                <a:gd name="T6" fmla="*/ 4 w 6"/>
                <a:gd name="T7" fmla="*/ 0 h 8"/>
                <a:gd name="T8" fmla="*/ 6 w 6"/>
                <a:gd name="T9" fmla="*/ 8 h 8"/>
              </a:gdLst>
              <a:ahLst/>
              <a:cxnLst>
                <a:cxn ang="0">
                  <a:pos x="T0" y="T1"/>
                </a:cxn>
                <a:cxn ang="0">
                  <a:pos x="T2" y="T3"/>
                </a:cxn>
                <a:cxn ang="0">
                  <a:pos x="T4" y="T5"/>
                </a:cxn>
                <a:cxn ang="0">
                  <a:pos x="T6" y="T7"/>
                </a:cxn>
                <a:cxn ang="0">
                  <a:pos x="T8" y="T9"/>
                </a:cxn>
              </a:cxnLst>
              <a:rect l="0" t="0" r="r" b="b"/>
              <a:pathLst>
                <a:path w="6" h="8">
                  <a:moveTo>
                    <a:pt x="6" y="8"/>
                  </a:moveTo>
                  <a:lnTo>
                    <a:pt x="0" y="8"/>
                  </a:lnTo>
                  <a:lnTo>
                    <a:pt x="2" y="0"/>
                  </a:lnTo>
                  <a:lnTo>
                    <a:pt x="4" y="0"/>
                  </a:lnTo>
                  <a:lnTo>
                    <a:pt x="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Freeform 58"/>
            <p:cNvSpPr>
              <a:spLocks/>
            </p:cNvSpPr>
            <p:nvPr userDrawn="1"/>
          </p:nvSpPr>
          <p:spPr bwMode="auto">
            <a:xfrm>
              <a:off x="7697136" y="2411017"/>
              <a:ext cx="436342" cy="312776"/>
            </a:xfrm>
            <a:custGeom>
              <a:avLst/>
              <a:gdLst>
                <a:gd name="T0" fmla="*/ 162 w 162"/>
                <a:gd name="T1" fmla="*/ 91 h 117"/>
                <a:gd name="T2" fmla="*/ 143 w 162"/>
                <a:gd name="T3" fmla="*/ 14 h 117"/>
                <a:gd name="T4" fmla="*/ 103 w 162"/>
                <a:gd name="T5" fmla="*/ 12 h 117"/>
                <a:gd name="T6" fmla="*/ 81 w 162"/>
                <a:gd name="T7" fmla="*/ 15 h 117"/>
                <a:gd name="T8" fmla="*/ 60 w 162"/>
                <a:gd name="T9" fmla="*/ 12 h 117"/>
                <a:gd name="T10" fmla="*/ 20 w 162"/>
                <a:gd name="T11" fmla="*/ 14 h 117"/>
                <a:gd name="T12" fmla="*/ 1 w 162"/>
                <a:gd name="T13" fmla="*/ 91 h 117"/>
                <a:gd name="T14" fmla="*/ 11 w 162"/>
                <a:gd name="T15" fmla="*/ 116 h 117"/>
                <a:gd name="T16" fmla="*/ 11 w 162"/>
                <a:gd name="T17" fmla="*/ 116 h 117"/>
                <a:gd name="T18" fmla="*/ 29 w 162"/>
                <a:gd name="T19" fmla="*/ 111 h 117"/>
                <a:gd name="T20" fmla="*/ 58 w 162"/>
                <a:gd name="T21" fmla="*/ 89 h 117"/>
                <a:gd name="T22" fmla="*/ 81 w 162"/>
                <a:gd name="T23" fmla="*/ 87 h 117"/>
                <a:gd name="T24" fmla="*/ 105 w 162"/>
                <a:gd name="T25" fmla="*/ 89 h 117"/>
                <a:gd name="T26" fmla="*/ 134 w 162"/>
                <a:gd name="T27" fmla="*/ 111 h 117"/>
                <a:gd name="T28" fmla="*/ 151 w 162"/>
                <a:gd name="T29" fmla="*/ 116 h 117"/>
                <a:gd name="T30" fmla="*/ 151 w 162"/>
                <a:gd name="T31" fmla="*/ 116 h 117"/>
                <a:gd name="T32" fmla="*/ 162 w 162"/>
                <a:gd name="T33" fmla="*/ 9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 h="117">
                  <a:moveTo>
                    <a:pt x="162" y="91"/>
                  </a:moveTo>
                  <a:cubicBezTo>
                    <a:pt x="161" y="46"/>
                    <a:pt x="152" y="22"/>
                    <a:pt x="143" y="14"/>
                  </a:cubicBezTo>
                  <a:cubicBezTo>
                    <a:pt x="127" y="0"/>
                    <a:pt x="104" y="12"/>
                    <a:pt x="103" y="12"/>
                  </a:cubicBezTo>
                  <a:cubicBezTo>
                    <a:pt x="81" y="15"/>
                    <a:pt x="81" y="15"/>
                    <a:pt x="81" y="15"/>
                  </a:cubicBezTo>
                  <a:cubicBezTo>
                    <a:pt x="60" y="12"/>
                    <a:pt x="60" y="12"/>
                    <a:pt x="60" y="12"/>
                  </a:cubicBezTo>
                  <a:cubicBezTo>
                    <a:pt x="58" y="12"/>
                    <a:pt x="35" y="0"/>
                    <a:pt x="20" y="14"/>
                  </a:cubicBezTo>
                  <a:cubicBezTo>
                    <a:pt x="10" y="22"/>
                    <a:pt x="2" y="46"/>
                    <a:pt x="1" y="91"/>
                  </a:cubicBezTo>
                  <a:cubicBezTo>
                    <a:pt x="0" y="95"/>
                    <a:pt x="1" y="115"/>
                    <a:pt x="11" y="116"/>
                  </a:cubicBezTo>
                  <a:cubicBezTo>
                    <a:pt x="11" y="116"/>
                    <a:pt x="11" y="116"/>
                    <a:pt x="11" y="116"/>
                  </a:cubicBezTo>
                  <a:cubicBezTo>
                    <a:pt x="11" y="116"/>
                    <a:pt x="20" y="117"/>
                    <a:pt x="29" y="111"/>
                  </a:cubicBezTo>
                  <a:cubicBezTo>
                    <a:pt x="34" y="106"/>
                    <a:pt x="47" y="91"/>
                    <a:pt x="58" y="89"/>
                  </a:cubicBezTo>
                  <a:cubicBezTo>
                    <a:pt x="69" y="87"/>
                    <a:pt x="81" y="87"/>
                    <a:pt x="81" y="87"/>
                  </a:cubicBezTo>
                  <a:cubicBezTo>
                    <a:pt x="81" y="87"/>
                    <a:pt x="94" y="87"/>
                    <a:pt x="105" y="89"/>
                  </a:cubicBezTo>
                  <a:cubicBezTo>
                    <a:pt x="115" y="91"/>
                    <a:pt x="129" y="106"/>
                    <a:pt x="134" y="111"/>
                  </a:cubicBezTo>
                  <a:cubicBezTo>
                    <a:pt x="142" y="117"/>
                    <a:pt x="151" y="116"/>
                    <a:pt x="151" y="116"/>
                  </a:cubicBezTo>
                  <a:cubicBezTo>
                    <a:pt x="151" y="116"/>
                    <a:pt x="151" y="116"/>
                    <a:pt x="151" y="116"/>
                  </a:cubicBezTo>
                  <a:cubicBezTo>
                    <a:pt x="162" y="115"/>
                    <a:pt x="162" y="95"/>
                    <a:pt x="162" y="91"/>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59"/>
            <p:cNvSpPr>
              <a:spLocks/>
            </p:cNvSpPr>
            <p:nvPr userDrawn="1"/>
          </p:nvSpPr>
          <p:spPr bwMode="auto">
            <a:xfrm>
              <a:off x="8044664" y="2426462"/>
              <a:ext cx="115843" cy="293468"/>
            </a:xfrm>
            <a:custGeom>
              <a:avLst/>
              <a:gdLst>
                <a:gd name="T0" fmla="*/ 44 w 44"/>
                <a:gd name="T1" fmla="*/ 85 h 110"/>
                <a:gd name="T2" fmla="*/ 25 w 44"/>
                <a:gd name="T3" fmla="*/ 8 h 110"/>
                <a:gd name="T4" fmla="*/ 0 w 44"/>
                <a:gd name="T5" fmla="*/ 1 h 110"/>
                <a:gd name="T6" fmla="*/ 15 w 44"/>
                <a:gd name="T7" fmla="*/ 8 h 110"/>
                <a:gd name="T8" fmla="*/ 34 w 44"/>
                <a:gd name="T9" fmla="*/ 85 h 110"/>
                <a:gd name="T10" fmla="*/ 26 w 44"/>
                <a:gd name="T11" fmla="*/ 109 h 110"/>
                <a:gd name="T12" fmla="*/ 33 w 44"/>
                <a:gd name="T13" fmla="*/ 110 h 110"/>
                <a:gd name="T14" fmla="*/ 33 w 44"/>
                <a:gd name="T15" fmla="*/ 110 h 110"/>
                <a:gd name="T16" fmla="*/ 44 w 44"/>
                <a:gd name="T17" fmla="*/ 8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10">
                  <a:moveTo>
                    <a:pt x="44" y="85"/>
                  </a:moveTo>
                  <a:cubicBezTo>
                    <a:pt x="43" y="40"/>
                    <a:pt x="34" y="16"/>
                    <a:pt x="25" y="8"/>
                  </a:cubicBezTo>
                  <a:cubicBezTo>
                    <a:pt x="17" y="1"/>
                    <a:pt x="8" y="0"/>
                    <a:pt x="0" y="1"/>
                  </a:cubicBezTo>
                  <a:cubicBezTo>
                    <a:pt x="5" y="2"/>
                    <a:pt x="10" y="4"/>
                    <a:pt x="15" y="8"/>
                  </a:cubicBezTo>
                  <a:cubicBezTo>
                    <a:pt x="24" y="16"/>
                    <a:pt x="33" y="40"/>
                    <a:pt x="34" y="85"/>
                  </a:cubicBezTo>
                  <a:cubicBezTo>
                    <a:pt x="34" y="89"/>
                    <a:pt x="34" y="105"/>
                    <a:pt x="26" y="109"/>
                  </a:cubicBezTo>
                  <a:cubicBezTo>
                    <a:pt x="30" y="110"/>
                    <a:pt x="33" y="110"/>
                    <a:pt x="33" y="110"/>
                  </a:cubicBezTo>
                  <a:cubicBezTo>
                    <a:pt x="33" y="110"/>
                    <a:pt x="33" y="110"/>
                    <a:pt x="33" y="110"/>
                  </a:cubicBezTo>
                  <a:cubicBezTo>
                    <a:pt x="44" y="109"/>
                    <a:pt x="44" y="89"/>
                    <a:pt x="44" y="85"/>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60"/>
            <p:cNvSpPr>
              <a:spLocks noEditPoints="1"/>
            </p:cNvSpPr>
            <p:nvPr userDrawn="1"/>
          </p:nvSpPr>
          <p:spPr bwMode="auto">
            <a:xfrm>
              <a:off x="7812978" y="2542305"/>
              <a:ext cx="77228" cy="73368"/>
            </a:xfrm>
            <a:custGeom>
              <a:avLst/>
              <a:gdLst>
                <a:gd name="T0" fmla="*/ 17 w 28"/>
                <a:gd name="T1" fmla="*/ 27 h 27"/>
                <a:gd name="T2" fmla="*/ 28 w 28"/>
                <a:gd name="T3" fmla="*/ 16 h 27"/>
                <a:gd name="T4" fmla="*/ 17 w 28"/>
                <a:gd name="T5" fmla="*/ 16 h 27"/>
                <a:gd name="T6" fmla="*/ 17 w 28"/>
                <a:gd name="T7" fmla="*/ 27 h 27"/>
                <a:gd name="T8" fmla="*/ 0 w 28"/>
                <a:gd name="T9" fmla="*/ 16 h 27"/>
                <a:gd name="T10" fmla="*/ 12 w 28"/>
                <a:gd name="T11" fmla="*/ 27 h 27"/>
                <a:gd name="T12" fmla="*/ 12 w 28"/>
                <a:gd name="T13" fmla="*/ 16 h 27"/>
                <a:gd name="T14" fmla="*/ 0 w 28"/>
                <a:gd name="T15" fmla="*/ 16 h 27"/>
                <a:gd name="T16" fmla="*/ 12 w 28"/>
                <a:gd name="T17" fmla="*/ 0 h 27"/>
                <a:gd name="T18" fmla="*/ 0 w 28"/>
                <a:gd name="T19" fmla="*/ 11 h 27"/>
                <a:gd name="T20" fmla="*/ 12 w 28"/>
                <a:gd name="T21" fmla="*/ 11 h 27"/>
                <a:gd name="T22" fmla="*/ 12 w 28"/>
                <a:gd name="T23" fmla="*/ 0 h 27"/>
                <a:gd name="T24" fmla="*/ 28 w 28"/>
                <a:gd name="T25" fmla="*/ 11 h 27"/>
                <a:gd name="T26" fmla="*/ 17 w 28"/>
                <a:gd name="T27" fmla="*/ 0 h 27"/>
                <a:gd name="T28" fmla="*/ 17 w 28"/>
                <a:gd name="T29" fmla="*/ 11 h 27"/>
                <a:gd name="T30" fmla="*/ 28 w 28"/>
                <a:gd name="T31" fmla="*/ 1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7">
                  <a:moveTo>
                    <a:pt x="17" y="27"/>
                  </a:moveTo>
                  <a:cubicBezTo>
                    <a:pt x="23" y="26"/>
                    <a:pt x="27" y="22"/>
                    <a:pt x="28" y="16"/>
                  </a:cubicBezTo>
                  <a:cubicBezTo>
                    <a:pt x="17" y="16"/>
                    <a:pt x="17" y="16"/>
                    <a:pt x="17" y="16"/>
                  </a:cubicBezTo>
                  <a:lnTo>
                    <a:pt x="17" y="27"/>
                  </a:lnTo>
                  <a:close/>
                  <a:moveTo>
                    <a:pt x="0" y="16"/>
                  </a:moveTo>
                  <a:cubicBezTo>
                    <a:pt x="1" y="22"/>
                    <a:pt x="6" y="26"/>
                    <a:pt x="12" y="27"/>
                  </a:cubicBezTo>
                  <a:cubicBezTo>
                    <a:pt x="12" y="16"/>
                    <a:pt x="12" y="16"/>
                    <a:pt x="12" y="16"/>
                  </a:cubicBezTo>
                  <a:lnTo>
                    <a:pt x="0" y="16"/>
                  </a:lnTo>
                  <a:close/>
                  <a:moveTo>
                    <a:pt x="12" y="0"/>
                  </a:moveTo>
                  <a:cubicBezTo>
                    <a:pt x="6" y="1"/>
                    <a:pt x="1" y="5"/>
                    <a:pt x="0" y="11"/>
                  </a:cubicBezTo>
                  <a:cubicBezTo>
                    <a:pt x="12" y="11"/>
                    <a:pt x="12" y="11"/>
                    <a:pt x="12" y="11"/>
                  </a:cubicBezTo>
                  <a:lnTo>
                    <a:pt x="12" y="0"/>
                  </a:lnTo>
                  <a:close/>
                  <a:moveTo>
                    <a:pt x="28" y="11"/>
                  </a:moveTo>
                  <a:cubicBezTo>
                    <a:pt x="27" y="5"/>
                    <a:pt x="23" y="1"/>
                    <a:pt x="17" y="0"/>
                  </a:cubicBezTo>
                  <a:cubicBezTo>
                    <a:pt x="17" y="11"/>
                    <a:pt x="17" y="11"/>
                    <a:pt x="17" y="11"/>
                  </a:cubicBezTo>
                  <a:lnTo>
                    <a:pt x="28"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Oval 61"/>
            <p:cNvSpPr>
              <a:spLocks noChangeArrowheads="1"/>
            </p:cNvSpPr>
            <p:nvPr userDrawn="1"/>
          </p:nvSpPr>
          <p:spPr bwMode="auto">
            <a:xfrm>
              <a:off x="7951990" y="2550028"/>
              <a:ext cx="57923" cy="57923"/>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Oval 62"/>
            <p:cNvSpPr>
              <a:spLocks noChangeArrowheads="1"/>
            </p:cNvSpPr>
            <p:nvPr userDrawn="1"/>
          </p:nvSpPr>
          <p:spPr bwMode="auto">
            <a:xfrm>
              <a:off x="8029218" y="2457354"/>
              <a:ext cx="30891" cy="27031"/>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Oval 63"/>
            <p:cNvSpPr>
              <a:spLocks noChangeArrowheads="1"/>
            </p:cNvSpPr>
            <p:nvPr userDrawn="1"/>
          </p:nvSpPr>
          <p:spPr bwMode="auto">
            <a:xfrm>
              <a:off x="8029218" y="2519136"/>
              <a:ext cx="30891" cy="30891"/>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Oval 64"/>
            <p:cNvSpPr>
              <a:spLocks noChangeArrowheads="1"/>
            </p:cNvSpPr>
            <p:nvPr userDrawn="1"/>
          </p:nvSpPr>
          <p:spPr bwMode="auto">
            <a:xfrm>
              <a:off x="7998327" y="2488245"/>
              <a:ext cx="27031" cy="27031"/>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Oval 65"/>
            <p:cNvSpPr>
              <a:spLocks noChangeArrowheads="1"/>
            </p:cNvSpPr>
            <p:nvPr userDrawn="1"/>
          </p:nvSpPr>
          <p:spPr bwMode="auto">
            <a:xfrm>
              <a:off x="8060109" y="2488245"/>
              <a:ext cx="30891" cy="27031"/>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6"/>
            <p:cNvSpPr>
              <a:spLocks/>
            </p:cNvSpPr>
            <p:nvPr userDrawn="1"/>
          </p:nvSpPr>
          <p:spPr bwMode="auto">
            <a:xfrm>
              <a:off x="7886344" y="2476662"/>
              <a:ext cx="57923" cy="57923"/>
            </a:xfrm>
            <a:custGeom>
              <a:avLst/>
              <a:gdLst>
                <a:gd name="T0" fmla="*/ 18 w 22"/>
                <a:gd name="T1" fmla="*/ 4 h 22"/>
                <a:gd name="T2" fmla="*/ 4 w 22"/>
                <a:gd name="T3" fmla="*/ 4 h 22"/>
                <a:gd name="T4" fmla="*/ 4 w 22"/>
                <a:gd name="T5" fmla="*/ 18 h 22"/>
                <a:gd name="T6" fmla="*/ 18 w 22"/>
                <a:gd name="T7" fmla="*/ 18 h 22"/>
                <a:gd name="T8" fmla="*/ 18 w 22"/>
                <a:gd name="T9" fmla="*/ 4 h 22"/>
              </a:gdLst>
              <a:ahLst/>
              <a:cxnLst>
                <a:cxn ang="0">
                  <a:pos x="T0" y="T1"/>
                </a:cxn>
                <a:cxn ang="0">
                  <a:pos x="T2" y="T3"/>
                </a:cxn>
                <a:cxn ang="0">
                  <a:pos x="T4" y="T5"/>
                </a:cxn>
                <a:cxn ang="0">
                  <a:pos x="T6" y="T7"/>
                </a:cxn>
                <a:cxn ang="0">
                  <a:pos x="T8" y="T9"/>
                </a:cxn>
              </a:cxnLst>
              <a:rect l="0" t="0" r="r" b="b"/>
              <a:pathLst>
                <a:path w="22" h="22">
                  <a:moveTo>
                    <a:pt x="18" y="4"/>
                  </a:moveTo>
                  <a:cubicBezTo>
                    <a:pt x="14" y="0"/>
                    <a:pt x="8" y="0"/>
                    <a:pt x="4" y="4"/>
                  </a:cubicBezTo>
                  <a:cubicBezTo>
                    <a:pt x="0" y="8"/>
                    <a:pt x="0" y="14"/>
                    <a:pt x="4" y="18"/>
                  </a:cubicBezTo>
                  <a:cubicBezTo>
                    <a:pt x="8" y="22"/>
                    <a:pt x="14" y="22"/>
                    <a:pt x="18" y="18"/>
                  </a:cubicBezTo>
                  <a:cubicBezTo>
                    <a:pt x="22" y="14"/>
                    <a:pt x="22" y="8"/>
                    <a:pt x="18" y="4"/>
                  </a:cubicBezTo>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Oval 67"/>
            <p:cNvSpPr>
              <a:spLocks noChangeArrowheads="1"/>
            </p:cNvSpPr>
            <p:nvPr userDrawn="1"/>
          </p:nvSpPr>
          <p:spPr bwMode="auto">
            <a:xfrm>
              <a:off x="7766641" y="2465077"/>
              <a:ext cx="57923" cy="57923"/>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68"/>
            <p:cNvSpPr>
              <a:spLocks/>
            </p:cNvSpPr>
            <p:nvPr userDrawn="1"/>
          </p:nvSpPr>
          <p:spPr bwMode="auto">
            <a:xfrm>
              <a:off x="8148921" y="3218055"/>
              <a:ext cx="57923" cy="378419"/>
            </a:xfrm>
            <a:custGeom>
              <a:avLst/>
              <a:gdLst>
                <a:gd name="T0" fmla="*/ 10 w 21"/>
                <a:gd name="T1" fmla="*/ 0 h 141"/>
                <a:gd name="T2" fmla="*/ 0 w 21"/>
                <a:gd name="T3" fmla="*/ 0 h 141"/>
                <a:gd name="T4" fmla="*/ 10 w 21"/>
                <a:gd name="T5" fmla="*/ 10 h 141"/>
                <a:gd name="T6" fmla="*/ 10 w 21"/>
                <a:gd name="T7" fmla="*/ 130 h 141"/>
                <a:gd name="T8" fmla="*/ 0 w 21"/>
                <a:gd name="T9" fmla="*/ 141 h 141"/>
                <a:gd name="T10" fmla="*/ 10 w 21"/>
                <a:gd name="T11" fmla="*/ 141 h 141"/>
                <a:gd name="T12" fmla="*/ 21 w 21"/>
                <a:gd name="T13" fmla="*/ 130 h 141"/>
                <a:gd name="T14" fmla="*/ 21 w 21"/>
                <a:gd name="T15" fmla="*/ 10 h 141"/>
                <a:gd name="T16" fmla="*/ 10 w 21"/>
                <a:gd name="T1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41">
                  <a:moveTo>
                    <a:pt x="10" y="0"/>
                  </a:moveTo>
                  <a:cubicBezTo>
                    <a:pt x="0" y="0"/>
                    <a:pt x="0" y="0"/>
                    <a:pt x="0" y="0"/>
                  </a:cubicBezTo>
                  <a:cubicBezTo>
                    <a:pt x="5" y="0"/>
                    <a:pt x="10" y="5"/>
                    <a:pt x="10" y="10"/>
                  </a:cubicBezTo>
                  <a:cubicBezTo>
                    <a:pt x="10" y="130"/>
                    <a:pt x="10" y="130"/>
                    <a:pt x="10" y="130"/>
                  </a:cubicBezTo>
                  <a:cubicBezTo>
                    <a:pt x="10" y="136"/>
                    <a:pt x="5" y="141"/>
                    <a:pt x="0" y="141"/>
                  </a:cubicBezTo>
                  <a:cubicBezTo>
                    <a:pt x="10" y="141"/>
                    <a:pt x="10" y="141"/>
                    <a:pt x="10" y="141"/>
                  </a:cubicBezTo>
                  <a:cubicBezTo>
                    <a:pt x="16" y="141"/>
                    <a:pt x="21" y="136"/>
                    <a:pt x="21" y="130"/>
                  </a:cubicBezTo>
                  <a:cubicBezTo>
                    <a:pt x="21" y="10"/>
                    <a:pt x="21" y="10"/>
                    <a:pt x="21" y="10"/>
                  </a:cubicBezTo>
                  <a:cubicBezTo>
                    <a:pt x="21" y="5"/>
                    <a:pt x="16" y="0"/>
                    <a:pt x="10" y="0"/>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69"/>
            <p:cNvSpPr>
              <a:spLocks/>
            </p:cNvSpPr>
            <p:nvPr userDrawn="1"/>
          </p:nvSpPr>
          <p:spPr bwMode="auto">
            <a:xfrm>
              <a:off x="7890207" y="3218055"/>
              <a:ext cx="285745" cy="378419"/>
            </a:xfrm>
            <a:custGeom>
              <a:avLst/>
              <a:gdLst>
                <a:gd name="T0" fmla="*/ 97 w 107"/>
                <a:gd name="T1" fmla="*/ 0 h 141"/>
                <a:gd name="T2" fmla="*/ 0 w 107"/>
                <a:gd name="T3" fmla="*/ 0 h 141"/>
                <a:gd name="T4" fmla="*/ 0 w 107"/>
                <a:gd name="T5" fmla="*/ 141 h 141"/>
                <a:gd name="T6" fmla="*/ 97 w 107"/>
                <a:gd name="T7" fmla="*/ 141 h 141"/>
                <a:gd name="T8" fmla="*/ 107 w 107"/>
                <a:gd name="T9" fmla="*/ 130 h 141"/>
                <a:gd name="T10" fmla="*/ 107 w 107"/>
                <a:gd name="T11" fmla="*/ 10 h 141"/>
                <a:gd name="T12" fmla="*/ 97 w 107"/>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107" h="141">
                  <a:moveTo>
                    <a:pt x="97" y="0"/>
                  </a:moveTo>
                  <a:cubicBezTo>
                    <a:pt x="0" y="0"/>
                    <a:pt x="0" y="0"/>
                    <a:pt x="0" y="0"/>
                  </a:cubicBezTo>
                  <a:cubicBezTo>
                    <a:pt x="0" y="141"/>
                    <a:pt x="0" y="141"/>
                    <a:pt x="0" y="141"/>
                  </a:cubicBezTo>
                  <a:cubicBezTo>
                    <a:pt x="97" y="141"/>
                    <a:pt x="97" y="141"/>
                    <a:pt x="97" y="141"/>
                  </a:cubicBezTo>
                  <a:cubicBezTo>
                    <a:pt x="102" y="141"/>
                    <a:pt x="107" y="136"/>
                    <a:pt x="107" y="130"/>
                  </a:cubicBezTo>
                  <a:cubicBezTo>
                    <a:pt x="107" y="10"/>
                    <a:pt x="107" y="10"/>
                    <a:pt x="107" y="10"/>
                  </a:cubicBezTo>
                  <a:cubicBezTo>
                    <a:pt x="107" y="5"/>
                    <a:pt x="102" y="0"/>
                    <a:pt x="97"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70"/>
            <p:cNvSpPr>
              <a:spLocks/>
            </p:cNvSpPr>
            <p:nvPr userDrawn="1"/>
          </p:nvSpPr>
          <p:spPr bwMode="auto">
            <a:xfrm>
              <a:off x="7951990" y="3314589"/>
              <a:ext cx="162180" cy="81091"/>
            </a:xfrm>
            <a:custGeom>
              <a:avLst/>
              <a:gdLst>
                <a:gd name="T0" fmla="*/ 61 w 61"/>
                <a:gd name="T1" fmla="*/ 26 h 30"/>
                <a:gd name="T2" fmla="*/ 57 w 61"/>
                <a:gd name="T3" fmla="*/ 30 h 30"/>
                <a:gd name="T4" fmla="*/ 5 w 61"/>
                <a:gd name="T5" fmla="*/ 30 h 30"/>
                <a:gd name="T6" fmla="*/ 0 w 61"/>
                <a:gd name="T7" fmla="*/ 26 h 30"/>
                <a:gd name="T8" fmla="*/ 0 w 61"/>
                <a:gd name="T9" fmla="*/ 5 h 30"/>
                <a:gd name="T10" fmla="*/ 5 w 61"/>
                <a:gd name="T11" fmla="*/ 0 h 30"/>
                <a:gd name="T12" fmla="*/ 57 w 61"/>
                <a:gd name="T13" fmla="*/ 0 h 30"/>
                <a:gd name="T14" fmla="*/ 61 w 61"/>
                <a:gd name="T15" fmla="*/ 5 h 30"/>
                <a:gd name="T16" fmla="*/ 61 w 61"/>
                <a:gd name="T17"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30">
                  <a:moveTo>
                    <a:pt x="61" y="26"/>
                  </a:moveTo>
                  <a:cubicBezTo>
                    <a:pt x="61" y="28"/>
                    <a:pt x="59" y="30"/>
                    <a:pt x="57" y="30"/>
                  </a:cubicBezTo>
                  <a:cubicBezTo>
                    <a:pt x="5" y="30"/>
                    <a:pt x="5" y="30"/>
                    <a:pt x="5" y="30"/>
                  </a:cubicBezTo>
                  <a:cubicBezTo>
                    <a:pt x="2" y="30"/>
                    <a:pt x="0" y="28"/>
                    <a:pt x="0" y="26"/>
                  </a:cubicBezTo>
                  <a:cubicBezTo>
                    <a:pt x="0" y="5"/>
                    <a:pt x="0" y="5"/>
                    <a:pt x="0" y="5"/>
                  </a:cubicBezTo>
                  <a:cubicBezTo>
                    <a:pt x="0" y="2"/>
                    <a:pt x="2" y="0"/>
                    <a:pt x="5" y="0"/>
                  </a:cubicBezTo>
                  <a:cubicBezTo>
                    <a:pt x="57" y="0"/>
                    <a:pt x="57" y="0"/>
                    <a:pt x="57" y="0"/>
                  </a:cubicBezTo>
                  <a:cubicBezTo>
                    <a:pt x="59" y="0"/>
                    <a:pt x="61" y="2"/>
                    <a:pt x="61" y="5"/>
                  </a:cubicBezTo>
                  <a:lnTo>
                    <a:pt x="61"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71"/>
            <p:cNvSpPr>
              <a:spLocks/>
            </p:cNvSpPr>
            <p:nvPr userDrawn="1"/>
          </p:nvSpPr>
          <p:spPr bwMode="auto">
            <a:xfrm>
              <a:off x="7863176" y="3272115"/>
              <a:ext cx="54060" cy="15446"/>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2"/>
                    <a:pt x="2" y="0"/>
                    <a:pt x="4" y="0"/>
                  </a:cubicBezTo>
                  <a:cubicBezTo>
                    <a:pt x="17" y="0"/>
                    <a:pt x="17" y="0"/>
                    <a:pt x="17" y="0"/>
                  </a:cubicBezTo>
                  <a:cubicBezTo>
                    <a:pt x="19" y="0"/>
                    <a:pt x="20" y="2"/>
                    <a:pt x="20" y="3"/>
                  </a:cubicBezTo>
                  <a:cubicBezTo>
                    <a:pt x="20" y="5"/>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72"/>
            <p:cNvSpPr>
              <a:spLocks/>
            </p:cNvSpPr>
            <p:nvPr userDrawn="1"/>
          </p:nvSpPr>
          <p:spPr bwMode="auto">
            <a:xfrm>
              <a:off x="7863176" y="3306866"/>
              <a:ext cx="54060" cy="19308"/>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1"/>
                    <a:pt x="2" y="0"/>
                    <a:pt x="4" y="0"/>
                  </a:cubicBezTo>
                  <a:cubicBezTo>
                    <a:pt x="17" y="0"/>
                    <a:pt x="17" y="0"/>
                    <a:pt x="17" y="0"/>
                  </a:cubicBezTo>
                  <a:cubicBezTo>
                    <a:pt x="19" y="0"/>
                    <a:pt x="20" y="1"/>
                    <a:pt x="20" y="3"/>
                  </a:cubicBezTo>
                  <a:cubicBezTo>
                    <a:pt x="20" y="5"/>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3"/>
            <p:cNvSpPr>
              <a:spLocks/>
            </p:cNvSpPr>
            <p:nvPr userDrawn="1"/>
          </p:nvSpPr>
          <p:spPr bwMode="auto">
            <a:xfrm>
              <a:off x="7863176" y="3341620"/>
              <a:ext cx="54060" cy="19308"/>
            </a:xfrm>
            <a:custGeom>
              <a:avLst/>
              <a:gdLst>
                <a:gd name="T0" fmla="*/ 17 w 20"/>
                <a:gd name="T1" fmla="*/ 7 h 7"/>
                <a:gd name="T2" fmla="*/ 4 w 20"/>
                <a:gd name="T3" fmla="*/ 7 h 7"/>
                <a:gd name="T4" fmla="*/ 0 w 20"/>
                <a:gd name="T5" fmla="*/ 4 h 7"/>
                <a:gd name="T6" fmla="*/ 4 w 20"/>
                <a:gd name="T7" fmla="*/ 0 h 7"/>
                <a:gd name="T8" fmla="*/ 17 w 20"/>
                <a:gd name="T9" fmla="*/ 0 h 7"/>
                <a:gd name="T10" fmla="*/ 20 w 20"/>
                <a:gd name="T11" fmla="*/ 4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6"/>
                    <a:pt x="0" y="4"/>
                  </a:cubicBezTo>
                  <a:cubicBezTo>
                    <a:pt x="0" y="2"/>
                    <a:pt x="2" y="0"/>
                    <a:pt x="4" y="0"/>
                  </a:cubicBezTo>
                  <a:cubicBezTo>
                    <a:pt x="17" y="0"/>
                    <a:pt x="17" y="0"/>
                    <a:pt x="17" y="0"/>
                  </a:cubicBezTo>
                  <a:cubicBezTo>
                    <a:pt x="19" y="0"/>
                    <a:pt x="20" y="2"/>
                    <a:pt x="20" y="4"/>
                  </a:cubicBezTo>
                  <a:cubicBezTo>
                    <a:pt x="20" y="6"/>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74"/>
            <p:cNvSpPr>
              <a:spLocks/>
            </p:cNvSpPr>
            <p:nvPr userDrawn="1"/>
          </p:nvSpPr>
          <p:spPr bwMode="auto">
            <a:xfrm>
              <a:off x="7863176" y="3380235"/>
              <a:ext cx="54060" cy="19308"/>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2"/>
                    <a:pt x="2" y="0"/>
                    <a:pt x="4" y="0"/>
                  </a:cubicBezTo>
                  <a:cubicBezTo>
                    <a:pt x="17" y="0"/>
                    <a:pt x="17" y="0"/>
                    <a:pt x="17" y="0"/>
                  </a:cubicBezTo>
                  <a:cubicBezTo>
                    <a:pt x="19" y="0"/>
                    <a:pt x="20" y="2"/>
                    <a:pt x="20" y="3"/>
                  </a:cubicBezTo>
                  <a:cubicBezTo>
                    <a:pt x="20" y="5"/>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75"/>
            <p:cNvSpPr>
              <a:spLocks/>
            </p:cNvSpPr>
            <p:nvPr userDrawn="1"/>
          </p:nvSpPr>
          <p:spPr bwMode="auto">
            <a:xfrm>
              <a:off x="7863176" y="3418849"/>
              <a:ext cx="54060" cy="19308"/>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1"/>
                    <a:pt x="2" y="0"/>
                    <a:pt x="4" y="0"/>
                  </a:cubicBezTo>
                  <a:cubicBezTo>
                    <a:pt x="17" y="0"/>
                    <a:pt x="17" y="0"/>
                    <a:pt x="17" y="0"/>
                  </a:cubicBezTo>
                  <a:cubicBezTo>
                    <a:pt x="19" y="0"/>
                    <a:pt x="20" y="1"/>
                    <a:pt x="20" y="3"/>
                  </a:cubicBezTo>
                  <a:cubicBezTo>
                    <a:pt x="20" y="5"/>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76"/>
            <p:cNvSpPr>
              <a:spLocks/>
            </p:cNvSpPr>
            <p:nvPr userDrawn="1"/>
          </p:nvSpPr>
          <p:spPr bwMode="auto">
            <a:xfrm>
              <a:off x="7863176" y="3453600"/>
              <a:ext cx="54060" cy="19308"/>
            </a:xfrm>
            <a:custGeom>
              <a:avLst/>
              <a:gdLst>
                <a:gd name="T0" fmla="*/ 17 w 20"/>
                <a:gd name="T1" fmla="*/ 7 h 7"/>
                <a:gd name="T2" fmla="*/ 4 w 20"/>
                <a:gd name="T3" fmla="*/ 7 h 7"/>
                <a:gd name="T4" fmla="*/ 0 w 20"/>
                <a:gd name="T5" fmla="*/ 4 h 7"/>
                <a:gd name="T6" fmla="*/ 4 w 20"/>
                <a:gd name="T7" fmla="*/ 0 h 7"/>
                <a:gd name="T8" fmla="*/ 17 w 20"/>
                <a:gd name="T9" fmla="*/ 0 h 7"/>
                <a:gd name="T10" fmla="*/ 20 w 20"/>
                <a:gd name="T11" fmla="*/ 4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6"/>
                    <a:pt x="0" y="4"/>
                  </a:cubicBezTo>
                  <a:cubicBezTo>
                    <a:pt x="0" y="2"/>
                    <a:pt x="2" y="0"/>
                    <a:pt x="4" y="0"/>
                  </a:cubicBezTo>
                  <a:cubicBezTo>
                    <a:pt x="17" y="0"/>
                    <a:pt x="17" y="0"/>
                    <a:pt x="17" y="0"/>
                  </a:cubicBezTo>
                  <a:cubicBezTo>
                    <a:pt x="19" y="0"/>
                    <a:pt x="20" y="2"/>
                    <a:pt x="20" y="4"/>
                  </a:cubicBezTo>
                  <a:cubicBezTo>
                    <a:pt x="20" y="6"/>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77"/>
            <p:cNvSpPr>
              <a:spLocks/>
            </p:cNvSpPr>
            <p:nvPr userDrawn="1"/>
          </p:nvSpPr>
          <p:spPr bwMode="auto">
            <a:xfrm>
              <a:off x="7863176" y="3488354"/>
              <a:ext cx="54060" cy="19308"/>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2"/>
                    <a:pt x="2" y="0"/>
                    <a:pt x="4" y="0"/>
                  </a:cubicBezTo>
                  <a:cubicBezTo>
                    <a:pt x="17" y="0"/>
                    <a:pt x="17" y="0"/>
                    <a:pt x="17" y="0"/>
                  </a:cubicBezTo>
                  <a:cubicBezTo>
                    <a:pt x="19" y="0"/>
                    <a:pt x="20" y="2"/>
                    <a:pt x="20" y="3"/>
                  </a:cubicBezTo>
                  <a:cubicBezTo>
                    <a:pt x="20" y="5"/>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78"/>
            <p:cNvSpPr>
              <a:spLocks/>
            </p:cNvSpPr>
            <p:nvPr userDrawn="1"/>
          </p:nvSpPr>
          <p:spPr bwMode="auto">
            <a:xfrm>
              <a:off x="7863176" y="3526969"/>
              <a:ext cx="54060" cy="19308"/>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1"/>
                    <a:pt x="2" y="0"/>
                    <a:pt x="4" y="0"/>
                  </a:cubicBezTo>
                  <a:cubicBezTo>
                    <a:pt x="17" y="0"/>
                    <a:pt x="17" y="0"/>
                    <a:pt x="17" y="0"/>
                  </a:cubicBezTo>
                  <a:cubicBezTo>
                    <a:pt x="19" y="0"/>
                    <a:pt x="20" y="1"/>
                    <a:pt x="20" y="3"/>
                  </a:cubicBezTo>
                  <a:cubicBezTo>
                    <a:pt x="20" y="5"/>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Freeform 79"/>
            <p:cNvSpPr>
              <a:spLocks/>
            </p:cNvSpPr>
            <p:nvPr userDrawn="1"/>
          </p:nvSpPr>
          <p:spPr bwMode="auto">
            <a:xfrm>
              <a:off x="8369023" y="3747068"/>
              <a:ext cx="65645" cy="50200"/>
            </a:xfrm>
            <a:custGeom>
              <a:avLst/>
              <a:gdLst>
                <a:gd name="T0" fmla="*/ 0 w 25"/>
                <a:gd name="T1" fmla="*/ 10 h 19"/>
                <a:gd name="T2" fmla="*/ 18 w 25"/>
                <a:gd name="T3" fmla="*/ 18 h 19"/>
                <a:gd name="T4" fmla="*/ 25 w 25"/>
                <a:gd name="T5" fmla="*/ 19 h 19"/>
                <a:gd name="T6" fmla="*/ 24 w 25"/>
                <a:gd name="T7" fmla="*/ 8 h 19"/>
                <a:gd name="T8" fmla="*/ 24 w 25"/>
                <a:gd name="T9" fmla="*/ 9 h 19"/>
                <a:gd name="T10" fmla="*/ 16 w 25"/>
                <a:gd name="T11" fmla="*/ 6 h 19"/>
                <a:gd name="T12" fmla="*/ 0 w 25"/>
                <a:gd name="T13" fmla="*/ 10 h 19"/>
              </a:gdLst>
              <a:ahLst/>
              <a:cxnLst>
                <a:cxn ang="0">
                  <a:pos x="T0" y="T1"/>
                </a:cxn>
                <a:cxn ang="0">
                  <a:pos x="T2" y="T3"/>
                </a:cxn>
                <a:cxn ang="0">
                  <a:pos x="T4" y="T5"/>
                </a:cxn>
                <a:cxn ang="0">
                  <a:pos x="T6" y="T7"/>
                </a:cxn>
                <a:cxn ang="0">
                  <a:pos x="T8" y="T9"/>
                </a:cxn>
                <a:cxn ang="0">
                  <a:pos x="T10" y="T11"/>
                </a:cxn>
                <a:cxn ang="0">
                  <a:pos x="T12" y="T13"/>
                </a:cxn>
              </a:cxnLst>
              <a:rect l="0" t="0" r="r" b="b"/>
              <a:pathLst>
                <a:path w="25" h="19">
                  <a:moveTo>
                    <a:pt x="0" y="10"/>
                  </a:moveTo>
                  <a:cubicBezTo>
                    <a:pt x="10" y="9"/>
                    <a:pt x="18" y="18"/>
                    <a:pt x="18" y="18"/>
                  </a:cubicBezTo>
                  <a:cubicBezTo>
                    <a:pt x="25" y="19"/>
                    <a:pt x="25" y="19"/>
                    <a:pt x="25" y="19"/>
                  </a:cubicBezTo>
                  <a:cubicBezTo>
                    <a:pt x="24" y="8"/>
                    <a:pt x="24" y="8"/>
                    <a:pt x="24" y="8"/>
                  </a:cubicBezTo>
                  <a:cubicBezTo>
                    <a:pt x="24" y="8"/>
                    <a:pt x="24" y="9"/>
                    <a:pt x="24" y="9"/>
                  </a:cubicBezTo>
                  <a:cubicBezTo>
                    <a:pt x="22" y="9"/>
                    <a:pt x="19" y="8"/>
                    <a:pt x="16" y="6"/>
                  </a:cubicBezTo>
                  <a:cubicBezTo>
                    <a:pt x="9" y="0"/>
                    <a:pt x="0" y="5"/>
                    <a:pt x="0" y="10"/>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Freeform 80"/>
            <p:cNvSpPr>
              <a:spLocks/>
            </p:cNvSpPr>
            <p:nvPr userDrawn="1"/>
          </p:nvSpPr>
          <p:spPr bwMode="auto">
            <a:xfrm>
              <a:off x="8508034" y="3608057"/>
              <a:ext cx="258716" cy="362974"/>
            </a:xfrm>
            <a:custGeom>
              <a:avLst/>
              <a:gdLst>
                <a:gd name="T0" fmla="*/ 40 w 96"/>
                <a:gd name="T1" fmla="*/ 135 h 135"/>
                <a:gd name="T2" fmla="*/ 24 w 96"/>
                <a:gd name="T3" fmla="*/ 128 h 135"/>
                <a:gd name="T4" fmla="*/ 0 w 96"/>
                <a:gd name="T5" fmla="*/ 87 h 135"/>
                <a:gd name="T6" fmla="*/ 18 w 96"/>
                <a:gd name="T7" fmla="*/ 71 h 135"/>
                <a:gd name="T8" fmla="*/ 34 w 96"/>
                <a:gd name="T9" fmla="*/ 86 h 135"/>
                <a:gd name="T10" fmla="*/ 66 w 96"/>
                <a:gd name="T11" fmla="*/ 0 h 135"/>
                <a:gd name="T12" fmla="*/ 96 w 96"/>
                <a:gd name="T13" fmla="*/ 43 h 135"/>
                <a:gd name="T14" fmla="*/ 59 w 96"/>
                <a:gd name="T15" fmla="*/ 123 h 135"/>
                <a:gd name="T16" fmla="*/ 43 w 96"/>
                <a:gd name="T17" fmla="*/ 135 h 135"/>
                <a:gd name="T18" fmla="*/ 40 w 96"/>
                <a:gd name="T19"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5">
                  <a:moveTo>
                    <a:pt x="40" y="135"/>
                  </a:moveTo>
                  <a:cubicBezTo>
                    <a:pt x="34" y="135"/>
                    <a:pt x="28" y="133"/>
                    <a:pt x="24" y="128"/>
                  </a:cubicBezTo>
                  <a:cubicBezTo>
                    <a:pt x="0" y="87"/>
                    <a:pt x="0" y="87"/>
                    <a:pt x="0" y="87"/>
                  </a:cubicBezTo>
                  <a:cubicBezTo>
                    <a:pt x="18" y="71"/>
                    <a:pt x="18" y="71"/>
                    <a:pt x="18" y="71"/>
                  </a:cubicBezTo>
                  <a:cubicBezTo>
                    <a:pt x="34" y="86"/>
                    <a:pt x="34" y="86"/>
                    <a:pt x="34" y="86"/>
                  </a:cubicBezTo>
                  <a:cubicBezTo>
                    <a:pt x="66" y="0"/>
                    <a:pt x="66" y="0"/>
                    <a:pt x="66" y="0"/>
                  </a:cubicBezTo>
                  <a:cubicBezTo>
                    <a:pt x="96" y="43"/>
                    <a:pt x="96" y="43"/>
                    <a:pt x="96" y="43"/>
                  </a:cubicBezTo>
                  <a:cubicBezTo>
                    <a:pt x="59" y="123"/>
                    <a:pt x="59" y="123"/>
                    <a:pt x="59" y="123"/>
                  </a:cubicBezTo>
                  <a:cubicBezTo>
                    <a:pt x="56" y="129"/>
                    <a:pt x="50" y="134"/>
                    <a:pt x="43" y="135"/>
                  </a:cubicBezTo>
                  <a:cubicBezTo>
                    <a:pt x="42" y="135"/>
                    <a:pt x="41" y="135"/>
                    <a:pt x="40" y="135"/>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81"/>
            <p:cNvSpPr>
              <a:spLocks/>
            </p:cNvSpPr>
            <p:nvPr userDrawn="1"/>
          </p:nvSpPr>
          <p:spPr bwMode="auto">
            <a:xfrm>
              <a:off x="8508034" y="3608057"/>
              <a:ext cx="258716" cy="362974"/>
            </a:xfrm>
            <a:custGeom>
              <a:avLst/>
              <a:gdLst>
                <a:gd name="T0" fmla="*/ 40 w 96"/>
                <a:gd name="T1" fmla="*/ 135 h 135"/>
                <a:gd name="T2" fmla="*/ 24 w 96"/>
                <a:gd name="T3" fmla="*/ 128 h 135"/>
                <a:gd name="T4" fmla="*/ 0 w 96"/>
                <a:gd name="T5" fmla="*/ 87 h 135"/>
                <a:gd name="T6" fmla="*/ 18 w 96"/>
                <a:gd name="T7" fmla="*/ 71 h 135"/>
                <a:gd name="T8" fmla="*/ 34 w 96"/>
                <a:gd name="T9" fmla="*/ 86 h 135"/>
                <a:gd name="T10" fmla="*/ 66 w 96"/>
                <a:gd name="T11" fmla="*/ 0 h 135"/>
                <a:gd name="T12" fmla="*/ 96 w 96"/>
                <a:gd name="T13" fmla="*/ 43 h 135"/>
                <a:gd name="T14" fmla="*/ 59 w 96"/>
                <a:gd name="T15" fmla="*/ 123 h 135"/>
                <a:gd name="T16" fmla="*/ 43 w 96"/>
                <a:gd name="T17" fmla="*/ 135 h 135"/>
                <a:gd name="T18" fmla="*/ 40 w 96"/>
                <a:gd name="T19"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5">
                  <a:moveTo>
                    <a:pt x="40" y="135"/>
                  </a:moveTo>
                  <a:cubicBezTo>
                    <a:pt x="34" y="135"/>
                    <a:pt x="28" y="133"/>
                    <a:pt x="24" y="128"/>
                  </a:cubicBezTo>
                  <a:cubicBezTo>
                    <a:pt x="0" y="87"/>
                    <a:pt x="0" y="87"/>
                    <a:pt x="0" y="87"/>
                  </a:cubicBezTo>
                  <a:cubicBezTo>
                    <a:pt x="18" y="71"/>
                    <a:pt x="18" y="71"/>
                    <a:pt x="18" y="71"/>
                  </a:cubicBezTo>
                  <a:cubicBezTo>
                    <a:pt x="34" y="86"/>
                    <a:pt x="34" y="86"/>
                    <a:pt x="34" y="86"/>
                  </a:cubicBezTo>
                  <a:cubicBezTo>
                    <a:pt x="66" y="0"/>
                    <a:pt x="66" y="0"/>
                    <a:pt x="66" y="0"/>
                  </a:cubicBezTo>
                  <a:cubicBezTo>
                    <a:pt x="96" y="43"/>
                    <a:pt x="96" y="43"/>
                    <a:pt x="96" y="43"/>
                  </a:cubicBezTo>
                  <a:cubicBezTo>
                    <a:pt x="59" y="123"/>
                    <a:pt x="59" y="123"/>
                    <a:pt x="59" y="123"/>
                  </a:cubicBezTo>
                  <a:cubicBezTo>
                    <a:pt x="56" y="129"/>
                    <a:pt x="50" y="134"/>
                    <a:pt x="43" y="135"/>
                  </a:cubicBezTo>
                  <a:cubicBezTo>
                    <a:pt x="42" y="135"/>
                    <a:pt x="41" y="135"/>
                    <a:pt x="40" y="135"/>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Freeform 82"/>
            <p:cNvSpPr>
              <a:spLocks/>
            </p:cNvSpPr>
            <p:nvPr userDrawn="1"/>
          </p:nvSpPr>
          <p:spPr bwMode="auto">
            <a:xfrm>
              <a:off x="8623877" y="3704594"/>
              <a:ext cx="142874" cy="266439"/>
            </a:xfrm>
            <a:custGeom>
              <a:avLst/>
              <a:gdLst>
                <a:gd name="T0" fmla="*/ 0 w 53"/>
                <a:gd name="T1" fmla="*/ 99 h 99"/>
                <a:gd name="T2" fmla="*/ 16 w 53"/>
                <a:gd name="T3" fmla="*/ 87 h 99"/>
                <a:gd name="T4" fmla="*/ 53 w 53"/>
                <a:gd name="T5" fmla="*/ 7 h 99"/>
                <a:gd name="T6" fmla="*/ 50 w 53"/>
                <a:gd name="T7" fmla="*/ 0 h 99"/>
                <a:gd name="T8" fmla="*/ 0 w 53"/>
                <a:gd name="T9" fmla="*/ 99 h 99"/>
              </a:gdLst>
              <a:ahLst/>
              <a:cxnLst>
                <a:cxn ang="0">
                  <a:pos x="T0" y="T1"/>
                </a:cxn>
                <a:cxn ang="0">
                  <a:pos x="T2" y="T3"/>
                </a:cxn>
                <a:cxn ang="0">
                  <a:pos x="T4" y="T5"/>
                </a:cxn>
                <a:cxn ang="0">
                  <a:pos x="T6" y="T7"/>
                </a:cxn>
                <a:cxn ang="0">
                  <a:pos x="T8" y="T9"/>
                </a:cxn>
              </a:cxnLst>
              <a:rect l="0" t="0" r="r" b="b"/>
              <a:pathLst>
                <a:path w="53" h="99">
                  <a:moveTo>
                    <a:pt x="0" y="99"/>
                  </a:moveTo>
                  <a:cubicBezTo>
                    <a:pt x="7" y="98"/>
                    <a:pt x="13" y="93"/>
                    <a:pt x="16" y="87"/>
                  </a:cubicBezTo>
                  <a:cubicBezTo>
                    <a:pt x="53" y="7"/>
                    <a:pt x="53" y="7"/>
                    <a:pt x="53" y="7"/>
                  </a:cubicBezTo>
                  <a:cubicBezTo>
                    <a:pt x="50" y="0"/>
                    <a:pt x="50" y="0"/>
                    <a:pt x="50" y="0"/>
                  </a:cubicBezTo>
                  <a:cubicBezTo>
                    <a:pt x="50" y="0"/>
                    <a:pt x="16" y="87"/>
                    <a:pt x="0" y="99"/>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Freeform 83"/>
            <p:cNvSpPr>
              <a:spLocks/>
            </p:cNvSpPr>
            <p:nvPr userDrawn="1"/>
          </p:nvSpPr>
          <p:spPr bwMode="auto">
            <a:xfrm>
              <a:off x="8600708" y="3608057"/>
              <a:ext cx="108120" cy="239408"/>
            </a:xfrm>
            <a:custGeom>
              <a:avLst/>
              <a:gdLst>
                <a:gd name="T0" fmla="*/ 22 w 28"/>
                <a:gd name="T1" fmla="*/ 0 h 62"/>
                <a:gd name="T2" fmla="*/ 0 w 28"/>
                <a:gd name="T3" fmla="*/ 60 h 62"/>
                <a:gd name="T4" fmla="*/ 4 w 28"/>
                <a:gd name="T5" fmla="*/ 62 h 62"/>
                <a:gd name="T6" fmla="*/ 28 w 28"/>
                <a:gd name="T7" fmla="*/ 8 h 62"/>
                <a:gd name="T8" fmla="*/ 22 w 28"/>
                <a:gd name="T9" fmla="*/ 0 h 62"/>
              </a:gdLst>
              <a:ahLst/>
              <a:cxnLst>
                <a:cxn ang="0">
                  <a:pos x="T0" y="T1"/>
                </a:cxn>
                <a:cxn ang="0">
                  <a:pos x="T2" y="T3"/>
                </a:cxn>
                <a:cxn ang="0">
                  <a:pos x="T4" y="T5"/>
                </a:cxn>
                <a:cxn ang="0">
                  <a:pos x="T6" y="T7"/>
                </a:cxn>
                <a:cxn ang="0">
                  <a:pos x="T8" y="T9"/>
                </a:cxn>
              </a:cxnLst>
              <a:rect l="0" t="0" r="r" b="b"/>
              <a:pathLst>
                <a:path w="28" h="62">
                  <a:moveTo>
                    <a:pt x="22" y="0"/>
                  </a:moveTo>
                  <a:lnTo>
                    <a:pt x="0" y="60"/>
                  </a:lnTo>
                  <a:lnTo>
                    <a:pt x="4" y="62"/>
                  </a:lnTo>
                  <a:lnTo>
                    <a:pt x="28" y="8"/>
                  </a:lnTo>
                  <a:lnTo>
                    <a:pt x="22" y="0"/>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Freeform 84"/>
            <p:cNvSpPr>
              <a:spLocks/>
            </p:cNvSpPr>
            <p:nvPr userDrawn="1"/>
          </p:nvSpPr>
          <p:spPr bwMode="auto">
            <a:xfrm>
              <a:off x="8392191" y="3696871"/>
              <a:ext cx="38614" cy="81091"/>
            </a:xfrm>
            <a:custGeom>
              <a:avLst/>
              <a:gdLst>
                <a:gd name="T0" fmla="*/ 10 w 15"/>
                <a:gd name="T1" fmla="*/ 30 h 30"/>
                <a:gd name="T2" fmla="*/ 6 w 15"/>
                <a:gd name="T3" fmla="*/ 26 h 30"/>
                <a:gd name="T4" fmla="*/ 1 w 15"/>
                <a:gd name="T5" fmla="*/ 7 h 30"/>
                <a:gd name="T6" fmla="*/ 4 w 15"/>
                <a:gd name="T7" fmla="*/ 1 h 30"/>
                <a:gd name="T8" fmla="*/ 9 w 15"/>
                <a:gd name="T9" fmla="*/ 4 h 30"/>
                <a:gd name="T10" fmla="*/ 15 w 15"/>
                <a:gd name="T11" fmla="*/ 24 h 30"/>
                <a:gd name="T12" fmla="*/ 12 w 15"/>
                <a:gd name="T13" fmla="*/ 29 h 30"/>
                <a:gd name="T14" fmla="*/ 10 w 15"/>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0">
                  <a:moveTo>
                    <a:pt x="10" y="30"/>
                  </a:moveTo>
                  <a:cubicBezTo>
                    <a:pt x="8" y="30"/>
                    <a:pt x="7" y="28"/>
                    <a:pt x="6" y="26"/>
                  </a:cubicBezTo>
                  <a:cubicBezTo>
                    <a:pt x="1" y="7"/>
                    <a:pt x="1" y="7"/>
                    <a:pt x="1" y="7"/>
                  </a:cubicBezTo>
                  <a:cubicBezTo>
                    <a:pt x="0" y="4"/>
                    <a:pt x="1" y="2"/>
                    <a:pt x="4" y="1"/>
                  </a:cubicBezTo>
                  <a:cubicBezTo>
                    <a:pt x="6" y="0"/>
                    <a:pt x="8" y="2"/>
                    <a:pt x="9" y="4"/>
                  </a:cubicBezTo>
                  <a:cubicBezTo>
                    <a:pt x="15" y="24"/>
                    <a:pt x="15" y="24"/>
                    <a:pt x="15" y="24"/>
                  </a:cubicBezTo>
                  <a:cubicBezTo>
                    <a:pt x="15" y="26"/>
                    <a:pt x="14" y="29"/>
                    <a:pt x="12" y="29"/>
                  </a:cubicBezTo>
                  <a:cubicBezTo>
                    <a:pt x="11" y="29"/>
                    <a:pt x="11" y="30"/>
                    <a:pt x="10" y="30"/>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Freeform 85"/>
            <p:cNvSpPr>
              <a:spLocks/>
            </p:cNvSpPr>
            <p:nvPr userDrawn="1"/>
          </p:nvSpPr>
          <p:spPr bwMode="auto">
            <a:xfrm>
              <a:off x="8419220" y="3681425"/>
              <a:ext cx="42477" cy="88814"/>
            </a:xfrm>
            <a:custGeom>
              <a:avLst/>
              <a:gdLst>
                <a:gd name="T0" fmla="*/ 11 w 16"/>
                <a:gd name="T1" fmla="*/ 32 h 32"/>
                <a:gd name="T2" fmla="*/ 7 w 16"/>
                <a:gd name="T3" fmla="*/ 28 h 32"/>
                <a:gd name="T4" fmla="*/ 0 w 16"/>
                <a:gd name="T5" fmla="*/ 6 h 32"/>
                <a:gd name="T6" fmla="*/ 3 w 16"/>
                <a:gd name="T7" fmla="*/ 1 h 32"/>
                <a:gd name="T8" fmla="*/ 9 w 16"/>
                <a:gd name="T9" fmla="*/ 4 h 32"/>
                <a:gd name="T10" fmla="*/ 15 w 16"/>
                <a:gd name="T11" fmla="*/ 26 h 32"/>
                <a:gd name="T12" fmla="*/ 12 w 16"/>
                <a:gd name="T13" fmla="*/ 31 h 32"/>
                <a:gd name="T14" fmla="*/ 11 w 16"/>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2">
                  <a:moveTo>
                    <a:pt x="11" y="32"/>
                  </a:moveTo>
                  <a:cubicBezTo>
                    <a:pt x="9" y="32"/>
                    <a:pt x="7" y="30"/>
                    <a:pt x="7" y="28"/>
                  </a:cubicBezTo>
                  <a:cubicBezTo>
                    <a:pt x="0" y="6"/>
                    <a:pt x="0" y="6"/>
                    <a:pt x="0" y="6"/>
                  </a:cubicBezTo>
                  <a:cubicBezTo>
                    <a:pt x="0" y="4"/>
                    <a:pt x="1" y="2"/>
                    <a:pt x="3" y="1"/>
                  </a:cubicBezTo>
                  <a:cubicBezTo>
                    <a:pt x="6" y="0"/>
                    <a:pt x="8" y="2"/>
                    <a:pt x="9" y="4"/>
                  </a:cubicBezTo>
                  <a:cubicBezTo>
                    <a:pt x="15" y="26"/>
                    <a:pt x="15" y="26"/>
                    <a:pt x="15" y="26"/>
                  </a:cubicBezTo>
                  <a:cubicBezTo>
                    <a:pt x="16" y="28"/>
                    <a:pt x="15" y="31"/>
                    <a:pt x="12" y="31"/>
                  </a:cubicBezTo>
                  <a:cubicBezTo>
                    <a:pt x="12" y="32"/>
                    <a:pt x="11" y="32"/>
                    <a:pt x="11" y="32"/>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Freeform 86"/>
            <p:cNvSpPr>
              <a:spLocks/>
            </p:cNvSpPr>
            <p:nvPr userDrawn="1"/>
          </p:nvSpPr>
          <p:spPr bwMode="auto">
            <a:xfrm>
              <a:off x="8453974" y="3681425"/>
              <a:ext cx="34754" cy="77228"/>
            </a:xfrm>
            <a:custGeom>
              <a:avLst/>
              <a:gdLst>
                <a:gd name="T0" fmla="*/ 9 w 14"/>
                <a:gd name="T1" fmla="*/ 29 h 29"/>
                <a:gd name="T2" fmla="*/ 5 w 14"/>
                <a:gd name="T3" fmla="*/ 26 h 29"/>
                <a:gd name="T4" fmla="*/ 0 w 14"/>
                <a:gd name="T5" fmla="*/ 6 h 29"/>
                <a:gd name="T6" fmla="*/ 4 w 14"/>
                <a:gd name="T7" fmla="*/ 1 h 29"/>
                <a:gd name="T8" fmla="*/ 9 w 14"/>
                <a:gd name="T9" fmla="*/ 4 h 29"/>
                <a:gd name="T10" fmla="*/ 14 w 14"/>
                <a:gd name="T11" fmla="*/ 24 h 29"/>
                <a:gd name="T12" fmla="*/ 10 w 14"/>
                <a:gd name="T13" fmla="*/ 29 h 29"/>
                <a:gd name="T14" fmla="*/ 9 w 14"/>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9">
                  <a:moveTo>
                    <a:pt x="9" y="29"/>
                  </a:moveTo>
                  <a:cubicBezTo>
                    <a:pt x="7" y="29"/>
                    <a:pt x="5" y="28"/>
                    <a:pt x="5" y="26"/>
                  </a:cubicBezTo>
                  <a:cubicBezTo>
                    <a:pt x="0" y="6"/>
                    <a:pt x="0" y="6"/>
                    <a:pt x="0" y="6"/>
                  </a:cubicBezTo>
                  <a:cubicBezTo>
                    <a:pt x="0" y="4"/>
                    <a:pt x="1" y="1"/>
                    <a:pt x="4" y="1"/>
                  </a:cubicBezTo>
                  <a:cubicBezTo>
                    <a:pt x="6" y="0"/>
                    <a:pt x="9" y="2"/>
                    <a:pt x="9" y="4"/>
                  </a:cubicBezTo>
                  <a:cubicBezTo>
                    <a:pt x="14" y="24"/>
                    <a:pt x="14" y="24"/>
                    <a:pt x="14" y="24"/>
                  </a:cubicBezTo>
                  <a:cubicBezTo>
                    <a:pt x="14" y="26"/>
                    <a:pt x="13" y="29"/>
                    <a:pt x="10" y="29"/>
                  </a:cubicBezTo>
                  <a:cubicBezTo>
                    <a:pt x="10" y="29"/>
                    <a:pt x="9" y="29"/>
                    <a:pt x="9" y="2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Freeform 87"/>
            <p:cNvSpPr>
              <a:spLocks/>
            </p:cNvSpPr>
            <p:nvPr userDrawn="1"/>
          </p:nvSpPr>
          <p:spPr bwMode="auto">
            <a:xfrm>
              <a:off x="8488726" y="3704594"/>
              <a:ext cx="38614" cy="77228"/>
            </a:xfrm>
            <a:custGeom>
              <a:avLst/>
              <a:gdLst>
                <a:gd name="T0" fmla="*/ 8 w 13"/>
                <a:gd name="T1" fmla="*/ 29 h 29"/>
                <a:gd name="T2" fmla="*/ 4 w 13"/>
                <a:gd name="T3" fmla="*/ 25 h 29"/>
                <a:gd name="T4" fmla="*/ 1 w 13"/>
                <a:gd name="T5" fmla="*/ 5 h 29"/>
                <a:gd name="T6" fmla="*/ 4 w 13"/>
                <a:gd name="T7" fmla="*/ 0 h 29"/>
                <a:gd name="T8" fmla="*/ 9 w 13"/>
                <a:gd name="T9" fmla="*/ 4 h 29"/>
                <a:gd name="T10" fmla="*/ 13 w 13"/>
                <a:gd name="T11" fmla="*/ 24 h 29"/>
                <a:gd name="T12" fmla="*/ 9 w 13"/>
                <a:gd name="T13" fmla="*/ 29 h 29"/>
                <a:gd name="T14" fmla="*/ 8 w 13"/>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29">
                  <a:moveTo>
                    <a:pt x="8" y="29"/>
                  </a:moveTo>
                  <a:cubicBezTo>
                    <a:pt x="6" y="29"/>
                    <a:pt x="4" y="27"/>
                    <a:pt x="4" y="25"/>
                  </a:cubicBezTo>
                  <a:cubicBezTo>
                    <a:pt x="1" y="5"/>
                    <a:pt x="1" y="5"/>
                    <a:pt x="1" y="5"/>
                  </a:cubicBezTo>
                  <a:cubicBezTo>
                    <a:pt x="0" y="3"/>
                    <a:pt x="2" y="0"/>
                    <a:pt x="4" y="0"/>
                  </a:cubicBezTo>
                  <a:cubicBezTo>
                    <a:pt x="7" y="0"/>
                    <a:pt x="9" y="1"/>
                    <a:pt x="9" y="4"/>
                  </a:cubicBezTo>
                  <a:cubicBezTo>
                    <a:pt x="13" y="24"/>
                    <a:pt x="13" y="24"/>
                    <a:pt x="13" y="24"/>
                  </a:cubicBezTo>
                  <a:cubicBezTo>
                    <a:pt x="13" y="26"/>
                    <a:pt x="11" y="28"/>
                    <a:pt x="9" y="29"/>
                  </a:cubicBezTo>
                  <a:cubicBezTo>
                    <a:pt x="8" y="29"/>
                    <a:pt x="8" y="29"/>
                    <a:pt x="8" y="2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Freeform 88"/>
            <p:cNvSpPr>
              <a:spLocks/>
            </p:cNvSpPr>
            <p:nvPr userDrawn="1"/>
          </p:nvSpPr>
          <p:spPr bwMode="auto">
            <a:xfrm>
              <a:off x="8407637" y="3739346"/>
              <a:ext cx="158319" cy="119705"/>
            </a:xfrm>
            <a:custGeom>
              <a:avLst/>
              <a:gdLst>
                <a:gd name="T0" fmla="*/ 1 w 59"/>
                <a:gd name="T1" fmla="*/ 10 h 44"/>
                <a:gd name="T2" fmla="*/ 53 w 59"/>
                <a:gd name="T3" fmla="*/ 38 h 44"/>
                <a:gd name="T4" fmla="*/ 55 w 59"/>
                <a:gd name="T5" fmla="*/ 19 h 44"/>
                <a:gd name="T6" fmla="*/ 41 w 59"/>
                <a:gd name="T7" fmla="*/ 0 h 44"/>
                <a:gd name="T8" fmla="*/ 1 w 59"/>
                <a:gd name="T9" fmla="*/ 9 h 44"/>
                <a:gd name="T10" fmla="*/ 1 w 59"/>
                <a:gd name="T11" fmla="*/ 10 h 44"/>
              </a:gdLst>
              <a:ahLst/>
              <a:cxnLst>
                <a:cxn ang="0">
                  <a:pos x="T0" y="T1"/>
                </a:cxn>
                <a:cxn ang="0">
                  <a:pos x="T2" y="T3"/>
                </a:cxn>
                <a:cxn ang="0">
                  <a:pos x="T4" y="T5"/>
                </a:cxn>
                <a:cxn ang="0">
                  <a:pos x="T6" y="T7"/>
                </a:cxn>
                <a:cxn ang="0">
                  <a:pos x="T8" y="T9"/>
                </a:cxn>
                <a:cxn ang="0">
                  <a:pos x="T10" y="T11"/>
                </a:cxn>
              </a:cxnLst>
              <a:rect l="0" t="0" r="r" b="b"/>
              <a:pathLst>
                <a:path w="59" h="44">
                  <a:moveTo>
                    <a:pt x="1" y="10"/>
                  </a:moveTo>
                  <a:cubicBezTo>
                    <a:pt x="5" y="17"/>
                    <a:pt x="26" y="44"/>
                    <a:pt x="53" y="38"/>
                  </a:cubicBezTo>
                  <a:cubicBezTo>
                    <a:pt x="59" y="36"/>
                    <a:pt x="58" y="29"/>
                    <a:pt x="55" y="19"/>
                  </a:cubicBezTo>
                  <a:cubicBezTo>
                    <a:pt x="52" y="9"/>
                    <a:pt x="41" y="0"/>
                    <a:pt x="41" y="0"/>
                  </a:cubicBezTo>
                  <a:cubicBezTo>
                    <a:pt x="1" y="9"/>
                    <a:pt x="1" y="9"/>
                    <a:pt x="1" y="9"/>
                  </a:cubicBezTo>
                  <a:cubicBezTo>
                    <a:pt x="1" y="9"/>
                    <a:pt x="0" y="9"/>
                    <a:pt x="1" y="10"/>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Freeform 89"/>
            <p:cNvSpPr>
              <a:spLocks/>
            </p:cNvSpPr>
            <p:nvPr userDrawn="1"/>
          </p:nvSpPr>
          <p:spPr bwMode="auto">
            <a:xfrm>
              <a:off x="9535172" y="3940139"/>
              <a:ext cx="73368" cy="42477"/>
            </a:xfrm>
            <a:custGeom>
              <a:avLst/>
              <a:gdLst>
                <a:gd name="T0" fmla="*/ 26 w 27"/>
                <a:gd name="T1" fmla="*/ 12 h 16"/>
                <a:gd name="T2" fmla="*/ 7 w 27"/>
                <a:gd name="T3" fmla="*/ 16 h 16"/>
                <a:gd name="T4" fmla="*/ 0 w 27"/>
                <a:gd name="T5" fmla="*/ 16 h 16"/>
                <a:gd name="T6" fmla="*/ 2 w 27"/>
                <a:gd name="T7" fmla="*/ 5 h 16"/>
                <a:gd name="T8" fmla="*/ 3 w 27"/>
                <a:gd name="T9" fmla="*/ 5 h 16"/>
                <a:gd name="T10" fmla="*/ 11 w 27"/>
                <a:gd name="T11" fmla="*/ 5 h 16"/>
                <a:gd name="T12" fmla="*/ 26 w 27"/>
                <a:gd name="T13" fmla="*/ 12 h 16"/>
              </a:gdLst>
              <a:ahLst/>
              <a:cxnLst>
                <a:cxn ang="0">
                  <a:pos x="T0" y="T1"/>
                </a:cxn>
                <a:cxn ang="0">
                  <a:pos x="T2" y="T3"/>
                </a:cxn>
                <a:cxn ang="0">
                  <a:pos x="T4" y="T5"/>
                </a:cxn>
                <a:cxn ang="0">
                  <a:pos x="T6" y="T7"/>
                </a:cxn>
                <a:cxn ang="0">
                  <a:pos x="T8" y="T9"/>
                </a:cxn>
                <a:cxn ang="0">
                  <a:pos x="T10" y="T11"/>
                </a:cxn>
                <a:cxn ang="0">
                  <a:pos x="T12" y="T13"/>
                </a:cxn>
              </a:cxnLst>
              <a:rect l="0" t="0" r="r" b="b"/>
              <a:pathLst>
                <a:path w="27" h="16">
                  <a:moveTo>
                    <a:pt x="26" y="12"/>
                  </a:moveTo>
                  <a:cubicBezTo>
                    <a:pt x="16" y="9"/>
                    <a:pt x="7" y="16"/>
                    <a:pt x="7" y="16"/>
                  </a:cubicBezTo>
                  <a:cubicBezTo>
                    <a:pt x="0" y="16"/>
                    <a:pt x="0" y="16"/>
                    <a:pt x="0" y="16"/>
                  </a:cubicBezTo>
                  <a:cubicBezTo>
                    <a:pt x="2" y="5"/>
                    <a:pt x="2" y="5"/>
                    <a:pt x="2" y="5"/>
                  </a:cubicBezTo>
                  <a:cubicBezTo>
                    <a:pt x="3" y="5"/>
                    <a:pt x="3" y="5"/>
                    <a:pt x="3" y="5"/>
                  </a:cubicBezTo>
                  <a:cubicBezTo>
                    <a:pt x="4" y="6"/>
                    <a:pt x="8" y="6"/>
                    <a:pt x="11" y="5"/>
                  </a:cubicBezTo>
                  <a:cubicBezTo>
                    <a:pt x="19" y="0"/>
                    <a:pt x="27" y="7"/>
                    <a:pt x="26" y="12"/>
                  </a:cubicBez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90"/>
            <p:cNvSpPr>
              <a:spLocks/>
            </p:cNvSpPr>
            <p:nvPr userDrawn="1"/>
          </p:nvSpPr>
          <p:spPr bwMode="auto">
            <a:xfrm>
              <a:off x="9129722" y="3608057"/>
              <a:ext cx="324359" cy="401588"/>
            </a:xfrm>
            <a:custGeom>
              <a:avLst/>
              <a:gdLst>
                <a:gd name="T0" fmla="*/ 56 w 121"/>
                <a:gd name="T1" fmla="*/ 135 h 150"/>
                <a:gd name="T2" fmla="*/ 63 w 121"/>
                <a:gd name="T3" fmla="*/ 129 h 150"/>
                <a:gd name="T4" fmla="*/ 121 w 121"/>
                <a:gd name="T5" fmla="*/ 150 h 150"/>
                <a:gd name="T6" fmla="*/ 107 w 121"/>
                <a:gd name="T7" fmla="*/ 130 h 150"/>
                <a:gd name="T8" fmla="*/ 64 w 121"/>
                <a:gd name="T9" fmla="*/ 92 h 150"/>
                <a:gd name="T10" fmla="*/ 29 w 121"/>
                <a:gd name="T11" fmla="*/ 0 h 150"/>
                <a:gd name="T12" fmla="*/ 0 w 121"/>
                <a:gd name="T13" fmla="*/ 43 h 150"/>
                <a:gd name="T14" fmla="*/ 37 w 121"/>
                <a:gd name="T15" fmla="*/ 123 h 150"/>
                <a:gd name="T16" fmla="*/ 52 w 121"/>
                <a:gd name="T17" fmla="*/ 135 h 150"/>
                <a:gd name="T18" fmla="*/ 56 w 121"/>
                <a:gd name="T19" fmla="*/ 13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50">
                  <a:moveTo>
                    <a:pt x="56" y="135"/>
                  </a:moveTo>
                  <a:cubicBezTo>
                    <a:pt x="62" y="135"/>
                    <a:pt x="59" y="133"/>
                    <a:pt x="63" y="129"/>
                  </a:cubicBezTo>
                  <a:cubicBezTo>
                    <a:pt x="121" y="150"/>
                    <a:pt x="121" y="150"/>
                    <a:pt x="121" y="150"/>
                  </a:cubicBezTo>
                  <a:cubicBezTo>
                    <a:pt x="107" y="130"/>
                    <a:pt x="107" y="130"/>
                    <a:pt x="107" y="130"/>
                  </a:cubicBezTo>
                  <a:cubicBezTo>
                    <a:pt x="64" y="92"/>
                    <a:pt x="64" y="92"/>
                    <a:pt x="64" y="92"/>
                  </a:cubicBezTo>
                  <a:cubicBezTo>
                    <a:pt x="29" y="0"/>
                    <a:pt x="29" y="0"/>
                    <a:pt x="29" y="0"/>
                  </a:cubicBezTo>
                  <a:cubicBezTo>
                    <a:pt x="0" y="43"/>
                    <a:pt x="0" y="43"/>
                    <a:pt x="0" y="43"/>
                  </a:cubicBezTo>
                  <a:cubicBezTo>
                    <a:pt x="37" y="123"/>
                    <a:pt x="37" y="123"/>
                    <a:pt x="37" y="123"/>
                  </a:cubicBezTo>
                  <a:cubicBezTo>
                    <a:pt x="40" y="129"/>
                    <a:pt x="46" y="134"/>
                    <a:pt x="52" y="135"/>
                  </a:cubicBezTo>
                  <a:cubicBezTo>
                    <a:pt x="54" y="135"/>
                    <a:pt x="55" y="135"/>
                    <a:pt x="56" y="135"/>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91"/>
            <p:cNvSpPr>
              <a:spLocks/>
            </p:cNvSpPr>
            <p:nvPr userDrawn="1"/>
          </p:nvSpPr>
          <p:spPr bwMode="auto">
            <a:xfrm>
              <a:off x="9129722" y="3608057"/>
              <a:ext cx="324359" cy="401588"/>
            </a:xfrm>
            <a:custGeom>
              <a:avLst/>
              <a:gdLst>
                <a:gd name="T0" fmla="*/ 56 w 121"/>
                <a:gd name="T1" fmla="*/ 135 h 150"/>
                <a:gd name="T2" fmla="*/ 121 w 121"/>
                <a:gd name="T3" fmla="*/ 150 h 150"/>
                <a:gd name="T4" fmla="*/ 120 w 121"/>
                <a:gd name="T5" fmla="*/ 120 h 150"/>
                <a:gd name="T6" fmla="*/ 64 w 121"/>
                <a:gd name="T7" fmla="*/ 92 h 150"/>
                <a:gd name="T8" fmla="*/ 29 w 121"/>
                <a:gd name="T9" fmla="*/ 0 h 150"/>
                <a:gd name="T10" fmla="*/ 0 w 121"/>
                <a:gd name="T11" fmla="*/ 43 h 150"/>
                <a:gd name="T12" fmla="*/ 37 w 121"/>
                <a:gd name="T13" fmla="*/ 123 h 150"/>
                <a:gd name="T14" fmla="*/ 52 w 121"/>
                <a:gd name="T15" fmla="*/ 135 h 150"/>
                <a:gd name="T16" fmla="*/ 56 w 121"/>
                <a:gd name="T17" fmla="*/ 13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50">
                  <a:moveTo>
                    <a:pt x="56" y="135"/>
                  </a:moveTo>
                  <a:cubicBezTo>
                    <a:pt x="62" y="135"/>
                    <a:pt x="121" y="150"/>
                    <a:pt x="121" y="150"/>
                  </a:cubicBezTo>
                  <a:cubicBezTo>
                    <a:pt x="120" y="120"/>
                    <a:pt x="120" y="120"/>
                    <a:pt x="120" y="120"/>
                  </a:cubicBezTo>
                  <a:cubicBezTo>
                    <a:pt x="64" y="92"/>
                    <a:pt x="64" y="92"/>
                    <a:pt x="64" y="92"/>
                  </a:cubicBezTo>
                  <a:cubicBezTo>
                    <a:pt x="29" y="0"/>
                    <a:pt x="29" y="0"/>
                    <a:pt x="29" y="0"/>
                  </a:cubicBezTo>
                  <a:cubicBezTo>
                    <a:pt x="0" y="43"/>
                    <a:pt x="0" y="43"/>
                    <a:pt x="0" y="43"/>
                  </a:cubicBezTo>
                  <a:cubicBezTo>
                    <a:pt x="37" y="123"/>
                    <a:pt x="37" y="123"/>
                    <a:pt x="37" y="123"/>
                  </a:cubicBezTo>
                  <a:cubicBezTo>
                    <a:pt x="40" y="129"/>
                    <a:pt x="46" y="134"/>
                    <a:pt x="52" y="135"/>
                  </a:cubicBezTo>
                  <a:cubicBezTo>
                    <a:pt x="54" y="135"/>
                    <a:pt x="55" y="135"/>
                    <a:pt x="56" y="135"/>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92"/>
            <p:cNvSpPr>
              <a:spLocks/>
            </p:cNvSpPr>
            <p:nvPr userDrawn="1"/>
          </p:nvSpPr>
          <p:spPr bwMode="auto">
            <a:xfrm>
              <a:off x="9129722" y="3704594"/>
              <a:ext cx="139011" cy="266439"/>
            </a:xfrm>
            <a:custGeom>
              <a:avLst/>
              <a:gdLst>
                <a:gd name="T0" fmla="*/ 52 w 52"/>
                <a:gd name="T1" fmla="*/ 99 h 99"/>
                <a:gd name="T2" fmla="*/ 37 w 52"/>
                <a:gd name="T3" fmla="*/ 87 h 99"/>
                <a:gd name="T4" fmla="*/ 0 w 52"/>
                <a:gd name="T5" fmla="*/ 7 h 99"/>
                <a:gd name="T6" fmla="*/ 2 w 52"/>
                <a:gd name="T7" fmla="*/ 0 h 99"/>
                <a:gd name="T8" fmla="*/ 52 w 52"/>
                <a:gd name="T9" fmla="*/ 99 h 99"/>
              </a:gdLst>
              <a:ahLst/>
              <a:cxnLst>
                <a:cxn ang="0">
                  <a:pos x="T0" y="T1"/>
                </a:cxn>
                <a:cxn ang="0">
                  <a:pos x="T2" y="T3"/>
                </a:cxn>
                <a:cxn ang="0">
                  <a:pos x="T4" y="T5"/>
                </a:cxn>
                <a:cxn ang="0">
                  <a:pos x="T6" y="T7"/>
                </a:cxn>
                <a:cxn ang="0">
                  <a:pos x="T8" y="T9"/>
                </a:cxn>
              </a:cxnLst>
              <a:rect l="0" t="0" r="r" b="b"/>
              <a:pathLst>
                <a:path w="52" h="99">
                  <a:moveTo>
                    <a:pt x="52" y="99"/>
                  </a:moveTo>
                  <a:cubicBezTo>
                    <a:pt x="46" y="98"/>
                    <a:pt x="40" y="93"/>
                    <a:pt x="37" y="87"/>
                  </a:cubicBezTo>
                  <a:cubicBezTo>
                    <a:pt x="0" y="7"/>
                    <a:pt x="0" y="7"/>
                    <a:pt x="0" y="7"/>
                  </a:cubicBezTo>
                  <a:cubicBezTo>
                    <a:pt x="2" y="0"/>
                    <a:pt x="2" y="0"/>
                    <a:pt x="2" y="0"/>
                  </a:cubicBezTo>
                  <a:cubicBezTo>
                    <a:pt x="2" y="0"/>
                    <a:pt x="37" y="87"/>
                    <a:pt x="52" y="99"/>
                  </a:cubicBez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Freeform 93"/>
            <p:cNvSpPr>
              <a:spLocks/>
            </p:cNvSpPr>
            <p:nvPr userDrawn="1"/>
          </p:nvSpPr>
          <p:spPr bwMode="auto">
            <a:xfrm>
              <a:off x="9187644" y="3608057"/>
              <a:ext cx="115843" cy="258716"/>
            </a:xfrm>
            <a:custGeom>
              <a:avLst/>
              <a:gdLst>
                <a:gd name="T0" fmla="*/ 5 w 30"/>
                <a:gd name="T1" fmla="*/ 0 h 67"/>
                <a:gd name="T2" fmla="*/ 30 w 30"/>
                <a:gd name="T3" fmla="*/ 64 h 67"/>
                <a:gd name="T4" fmla="*/ 26 w 30"/>
                <a:gd name="T5" fmla="*/ 67 h 67"/>
                <a:gd name="T6" fmla="*/ 0 w 30"/>
                <a:gd name="T7" fmla="*/ 8 h 67"/>
                <a:gd name="T8" fmla="*/ 5 w 30"/>
                <a:gd name="T9" fmla="*/ 0 h 67"/>
              </a:gdLst>
              <a:ahLst/>
              <a:cxnLst>
                <a:cxn ang="0">
                  <a:pos x="T0" y="T1"/>
                </a:cxn>
                <a:cxn ang="0">
                  <a:pos x="T2" y="T3"/>
                </a:cxn>
                <a:cxn ang="0">
                  <a:pos x="T4" y="T5"/>
                </a:cxn>
                <a:cxn ang="0">
                  <a:pos x="T6" y="T7"/>
                </a:cxn>
                <a:cxn ang="0">
                  <a:pos x="T8" y="T9"/>
                </a:cxn>
              </a:cxnLst>
              <a:rect l="0" t="0" r="r" b="b"/>
              <a:pathLst>
                <a:path w="30" h="67">
                  <a:moveTo>
                    <a:pt x="5" y="0"/>
                  </a:moveTo>
                  <a:lnTo>
                    <a:pt x="30" y="64"/>
                  </a:lnTo>
                  <a:lnTo>
                    <a:pt x="26" y="67"/>
                  </a:lnTo>
                  <a:lnTo>
                    <a:pt x="0" y="8"/>
                  </a:lnTo>
                  <a:lnTo>
                    <a:pt x="5" y="0"/>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Freeform 94"/>
            <p:cNvSpPr>
              <a:spLocks/>
            </p:cNvSpPr>
            <p:nvPr userDrawn="1"/>
          </p:nvSpPr>
          <p:spPr bwMode="auto">
            <a:xfrm>
              <a:off x="9546755" y="3889942"/>
              <a:ext cx="50200" cy="73368"/>
            </a:xfrm>
            <a:custGeom>
              <a:avLst/>
              <a:gdLst>
                <a:gd name="T0" fmla="*/ 4 w 19"/>
                <a:gd name="T1" fmla="*/ 27 h 28"/>
                <a:gd name="T2" fmla="*/ 9 w 19"/>
                <a:gd name="T3" fmla="*/ 25 h 28"/>
                <a:gd name="T4" fmla="*/ 18 w 19"/>
                <a:gd name="T5" fmla="*/ 7 h 28"/>
                <a:gd name="T6" fmla="*/ 16 w 19"/>
                <a:gd name="T7" fmla="*/ 1 h 28"/>
                <a:gd name="T8" fmla="*/ 10 w 19"/>
                <a:gd name="T9" fmla="*/ 3 h 28"/>
                <a:gd name="T10" fmla="*/ 1 w 19"/>
                <a:gd name="T11" fmla="*/ 21 h 28"/>
                <a:gd name="T12" fmla="*/ 3 w 19"/>
                <a:gd name="T13" fmla="*/ 27 h 28"/>
                <a:gd name="T14" fmla="*/ 4 w 19"/>
                <a:gd name="T15" fmla="*/ 2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8">
                  <a:moveTo>
                    <a:pt x="4" y="27"/>
                  </a:moveTo>
                  <a:cubicBezTo>
                    <a:pt x="6" y="28"/>
                    <a:pt x="8" y="27"/>
                    <a:pt x="9" y="25"/>
                  </a:cubicBezTo>
                  <a:cubicBezTo>
                    <a:pt x="18" y="7"/>
                    <a:pt x="18" y="7"/>
                    <a:pt x="18" y="7"/>
                  </a:cubicBezTo>
                  <a:cubicBezTo>
                    <a:pt x="19" y="5"/>
                    <a:pt x="19" y="2"/>
                    <a:pt x="16" y="1"/>
                  </a:cubicBezTo>
                  <a:cubicBezTo>
                    <a:pt x="14" y="0"/>
                    <a:pt x="12" y="1"/>
                    <a:pt x="10" y="3"/>
                  </a:cubicBezTo>
                  <a:cubicBezTo>
                    <a:pt x="1" y="21"/>
                    <a:pt x="1" y="21"/>
                    <a:pt x="1" y="21"/>
                  </a:cubicBezTo>
                  <a:cubicBezTo>
                    <a:pt x="0" y="23"/>
                    <a:pt x="1" y="26"/>
                    <a:pt x="3" y="27"/>
                  </a:cubicBezTo>
                  <a:cubicBezTo>
                    <a:pt x="3" y="27"/>
                    <a:pt x="3" y="27"/>
                    <a:pt x="4" y="2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Freeform 95"/>
            <p:cNvSpPr>
              <a:spLocks/>
            </p:cNvSpPr>
            <p:nvPr userDrawn="1"/>
          </p:nvSpPr>
          <p:spPr bwMode="auto">
            <a:xfrm>
              <a:off x="9519726" y="3870634"/>
              <a:ext cx="57923" cy="81091"/>
            </a:xfrm>
            <a:custGeom>
              <a:avLst/>
              <a:gdLst>
                <a:gd name="T0" fmla="*/ 4 w 21"/>
                <a:gd name="T1" fmla="*/ 29 h 30"/>
                <a:gd name="T2" fmla="*/ 9 w 21"/>
                <a:gd name="T3" fmla="*/ 27 h 30"/>
                <a:gd name="T4" fmla="*/ 20 w 21"/>
                <a:gd name="T5" fmla="*/ 7 h 30"/>
                <a:gd name="T6" fmla="*/ 18 w 21"/>
                <a:gd name="T7" fmla="*/ 1 h 30"/>
                <a:gd name="T8" fmla="*/ 12 w 21"/>
                <a:gd name="T9" fmla="*/ 3 h 30"/>
                <a:gd name="T10" fmla="*/ 1 w 21"/>
                <a:gd name="T11" fmla="*/ 23 h 30"/>
                <a:gd name="T12" fmla="*/ 3 w 21"/>
                <a:gd name="T13" fmla="*/ 29 h 30"/>
                <a:gd name="T14" fmla="*/ 4 w 21"/>
                <a:gd name="T15" fmla="*/ 29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30">
                  <a:moveTo>
                    <a:pt x="4" y="29"/>
                  </a:moveTo>
                  <a:cubicBezTo>
                    <a:pt x="6" y="30"/>
                    <a:pt x="8" y="29"/>
                    <a:pt x="9" y="27"/>
                  </a:cubicBezTo>
                  <a:cubicBezTo>
                    <a:pt x="20" y="7"/>
                    <a:pt x="20" y="7"/>
                    <a:pt x="20" y="7"/>
                  </a:cubicBezTo>
                  <a:cubicBezTo>
                    <a:pt x="21" y="5"/>
                    <a:pt x="20" y="2"/>
                    <a:pt x="18" y="1"/>
                  </a:cubicBezTo>
                  <a:cubicBezTo>
                    <a:pt x="16" y="0"/>
                    <a:pt x="13" y="0"/>
                    <a:pt x="12" y="3"/>
                  </a:cubicBezTo>
                  <a:cubicBezTo>
                    <a:pt x="1" y="23"/>
                    <a:pt x="1" y="23"/>
                    <a:pt x="1" y="23"/>
                  </a:cubicBezTo>
                  <a:cubicBezTo>
                    <a:pt x="0" y="25"/>
                    <a:pt x="1" y="28"/>
                    <a:pt x="3" y="29"/>
                  </a:cubicBezTo>
                  <a:cubicBezTo>
                    <a:pt x="3" y="29"/>
                    <a:pt x="4" y="29"/>
                    <a:pt x="4" y="2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Freeform 96"/>
            <p:cNvSpPr>
              <a:spLocks/>
            </p:cNvSpPr>
            <p:nvPr userDrawn="1"/>
          </p:nvSpPr>
          <p:spPr bwMode="auto">
            <a:xfrm>
              <a:off x="9492695" y="3859051"/>
              <a:ext cx="50200" cy="77228"/>
            </a:xfrm>
            <a:custGeom>
              <a:avLst/>
              <a:gdLst>
                <a:gd name="T0" fmla="*/ 4 w 18"/>
                <a:gd name="T1" fmla="*/ 28 h 28"/>
                <a:gd name="T2" fmla="*/ 9 w 18"/>
                <a:gd name="T3" fmla="*/ 25 h 28"/>
                <a:gd name="T4" fmla="*/ 17 w 18"/>
                <a:gd name="T5" fmla="*/ 7 h 28"/>
                <a:gd name="T6" fmla="*/ 15 w 18"/>
                <a:gd name="T7" fmla="*/ 1 h 28"/>
                <a:gd name="T8" fmla="*/ 9 w 18"/>
                <a:gd name="T9" fmla="*/ 3 h 28"/>
                <a:gd name="T10" fmla="*/ 1 w 18"/>
                <a:gd name="T11" fmla="*/ 22 h 28"/>
                <a:gd name="T12" fmla="*/ 3 w 18"/>
                <a:gd name="T13" fmla="*/ 27 h 28"/>
                <a:gd name="T14" fmla="*/ 4 w 1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8">
                  <a:moveTo>
                    <a:pt x="4" y="28"/>
                  </a:moveTo>
                  <a:cubicBezTo>
                    <a:pt x="6" y="28"/>
                    <a:pt x="8" y="27"/>
                    <a:pt x="9" y="25"/>
                  </a:cubicBezTo>
                  <a:cubicBezTo>
                    <a:pt x="17" y="7"/>
                    <a:pt x="17" y="7"/>
                    <a:pt x="17" y="7"/>
                  </a:cubicBezTo>
                  <a:cubicBezTo>
                    <a:pt x="18" y="4"/>
                    <a:pt x="17" y="2"/>
                    <a:pt x="15" y="1"/>
                  </a:cubicBezTo>
                  <a:cubicBezTo>
                    <a:pt x="13" y="0"/>
                    <a:pt x="10" y="1"/>
                    <a:pt x="9" y="3"/>
                  </a:cubicBezTo>
                  <a:cubicBezTo>
                    <a:pt x="1" y="22"/>
                    <a:pt x="1" y="22"/>
                    <a:pt x="1" y="22"/>
                  </a:cubicBezTo>
                  <a:cubicBezTo>
                    <a:pt x="0" y="24"/>
                    <a:pt x="1" y="26"/>
                    <a:pt x="3" y="27"/>
                  </a:cubicBezTo>
                  <a:cubicBezTo>
                    <a:pt x="3" y="28"/>
                    <a:pt x="4" y="28"/>
                    <a:pt x="4" y="2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Freeform 97"/>
            <p:cNvSpPr>
              <a:spLocks/>
            </p:cNvSpPr>
            <p:nvPr userDrawn="1"/>
          </p:nvSpPr>
          <p:spPr bwMode="auto">
            <a:xfrm>
              <a:off x="9454081" y="3874497"/>
              <a:ext cx="46337" cy="77228"/>
            </a:xfrm>
            <a:custGeom>
              <a:avLst/>
              <a:gdLst>
                <a:gd name="T0" fmla="*/ 5 w 18"/>
                <a:gd name="T1" fmla="*/ 28 h 29"/>
                <a:gd name="T2" fmla="*/ 9 w 18"/>
                <a:gd name="T3" fmla="*/ 26 h 29"/>
                <a:gd name="T4" fmla="*/ 17 w 18"/>
                <a:gd name="T5" fmla="*/ 7 h 29"/>
                <a:gd name="T6" fmla="*/ 14 w 18"/>
                <a:gd name="T7" fmla="*/ 1 h 29"/>
                <a:gd name="T8" fmla="*/ 9 w 18"/>
                <a:gd name="T9" fmla="*/ 3 h 29"/>
                <a:gd name="T10" fmla="*/ 1 w 18"/>
                <a:gd name="T11" fmla="*/ 23 h 29"/>
                <a:gd name="T12" fmla="*/ 4 w 18"/>
                <a:gd name="T13" fmla="*/ 28 h 29"/>
                <a:gd name="T14" fmla="*/ 5 w 18"/>
                <a:gd name="T15" fmla="*/ 28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9">
                  <a:moveTo>
                    <a:pt x="5" y="28"/>
                  </a:moveTo>
                  <a:cubicBezTo>
                    <a:pt x="7" y="29"/>
                    <a:pt x="9" y="28"/>
                    <a:pt x="9" y="26"/>
                  </a:cubicBezTo>
                  <a:cubicBezTo>
                    <a:pt x="17" y="7"/>
                    <a:pt x="17" y="7"/>
                    <a:pt x="17" y="7"/>
                  </a:cubicBezTo>
                  <a:cubicBezTo>
                    <a:pt x="18" y="4"/>
                    <a:pt x="17" y="2"/>
                    <a:pt x="14" y="1"/>
                  </a:cubicBezTo>
                  <a:cubicBezTo>
                    <a:pt x="12" y="0"/>
                    <a:pt x="9" y="1"/>
                    <a:pt x="9" y="3"/>
                  </a:cubicBezTo>
                  <a:cubicBezTo>
                    <a:pt x="1" y="23"/>
                    <a:pt x="1" y="23"/>
                    <a:pt x="1" y="23"/>
                  </a:cubicBezTo>
                  <a:cubicBezTo>
                    <a:pt x="0" y="25"/>
                    <a:pt x="1" y="27"/>
                    <a:pt x="4" y="28"/>
                  </a:cubicBezTo>
                  <a:cubicBezTo>
                    <a:pt x="4" y="28"/>
                    <a:pt x="4" y="28"/>
                    <a:pt x="5" y="2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Freeform 98"/>
            <p:cNvSpPr>
              <a:spLocks/>
            </p:cNvSpPr>
            <p:nvPr userDrawn="1"/>
          </p:nvSpPr>
          <p:spPr bwMode="auto">
            <a:xfrm>
              <a:off x="9400021" y="3905388"/>
              <a:ext cx="169902" cy="127428"/>
            </a:xfrm>
            <a:custGeom>
              <a:avLst/>
              <a:gdLst>
                <a:gd name="T0" fmla="*/ 63 w 64"/>
                <a:gd name="T1" fmla="*/ 19 h 47"/>
                <a:gd name="T2" fmla="*/ 7 w 64"/>
                <a:gd name="T3" fmla="*/ 35 h 47"/>
                <a:gd name="T4" fmla="*/ 8 w 64"/>
                <a:gd name="T5" fmla="*/ 16 h 47"/>
                <a:gd name="T6" fmla="*/ 26 w 64"/>
                <a:gd name="T7" fmla="*/ 0 h 47"/>
                <a:gd name="T8" fmla="*/ 64 w 64"/>
                <a:gd name="T9" fmla="*/ 17 h 47"/>
                <a:gd name="T10" fmla="*/ 63 w 64"/>
                <a:gd name="T11" fmla="*/ 19 h 47"/>
              </a:gdLst>
              <a:ahLst/>
              <a:cxnLst>
                <a:cxn ang="0">
                  <a:pos x="T0" y="T1"/>
                </a:cxn>
                <a:cxn ang="0">
                  <a:pos x="T2" y="T3"/>
                </a:cxn>
                <a:cxn ang="0">
                  <a:pos x="T4" y="T5"/>
                </a:cxn>
                <a:cxn ang="0">
                  <a:pos x="T6" y="T7"/>
                </a:cxn>
                <a:cxn ang="0">
                  <a:pos x="T8" y="T9"/>
                </a:cxn>
                <a:cxn ang="0">
                  <a:pos x="T10" y="T11"/>
                </a:cxn>
              </a:cxnLst>
              <a:rect l="0" t="0" r="r" b="b"/>
              <a:pathLst>
                <a:path w="64" h="47">
                  <a:moveTo>
                    <a:pt x="63" y="19"/>
                  </a:moveTo>
                  <a:cubicBezTo>
                    <a:pt x="57" y="24"/>
                    <a:pt x="31" y="47"/>
                    <a:pt x="7" y="35"/>
                  </a:cubicBezTo>
                  <a:cubicBezTo>
                    <a:pt x="0" y="32"/>
                    <a:pt x="3" y="25"/>
                    <a:pt x="8" y="16"/>
                  </a:cubicBezTo>
                  <a:cubicBezTo>
                    <a:pt x="13" y="7"/>
                    <a:pt x="26" y="0"/>
                    <a:pt x="26" y="0"/>
                  </a:cubicBezTo>
                  <a:cubicBezTo>
                    <a:pt x="64" y="17"/>
                    <a:pt x="64" y="17"/>
                    <a:pt x="64" y="17"/>
                  </a:cubicBezTo>
                  <a:cubicBezTo>
                    <a:pt x="64" y="17"/>
                    <a:pt x="64" y="18"/>
                    <a:pt x="63" y="1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Freeform 99"/>
            <p:cNvSpPr>
              <a:spLocks/>
            </p:cNvSpPr>
            <p:nvPr userDrawn="1"/>
          </p:nvSpPr>
          <p:spPr bwMode="auto">
            <a:xfrm>
              <a:off x="8654768" y="3523106"/>
              <a:ext cx="598521" cy="675750"/>
            </a:xfrm>
            <a:custGeom>
              <a:avLst/>
              <a:gdLst>
                <a:gd name="T0" fmla="*/ 192 w 222"/>
                <a:gd name="T1" fmla="*/ 97 h 251"/>
                <a:gd name="T2" fmla="*/ 222 w 222"/>
                <a:gd name="T3" fmla="*/ 48 h 251"/>
                <a:gd name="T4" fmla="*/ 127 w 222"/>
                <a:gd name="T5" fmla="*/ 0 h 251"/>
                <a:gd name="T6" fmla="*/ 95 w 222"/>
                <a:gd name="T7" fmla="*/ 0 h 251"/>
                <a:gd name="T8" fmla="*/ 0 w 222"/>
                <a:gd name="T9" fmla="*/ 48 h 251"/>
                <a:gd name="T10" fmla="*/ 30 w 222"/>
                <a:gd name="T11" fmla="*/ 97 h 251"/>
                <a:gd name="T12" fmla="*/ 66 w 222"/>
                <a:gd name="T13" fmla="*/ 237 h 251"/>
                <a:gd name="T14" fmla="*/ 111 w 222"/>
                <a:gd name="T15" fmla="*/ 251 h 251"/>
                <a:gd name="T16" fmla="*/ 156 w 222"/>
                <a:gd name="T17" fmla="*/ 237 h 251"/>
                <a:gd name="T18" fmla="*/ 192 w 222"/>
                <a:gd name="T19" fmla="*/ 97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2" h="251">
                  <a:moveTo>
                    <a:pt x="192" y="97"/>
                  </a:moveTo>
                  <a:cubicBezTo>
                    <a:pt x="222" y="48"/>
                    <a:pt x="222" y="48"/>
                    <a:pt x="222" y="48"/>
                  </a:cubicBezTo>
                  <a:cubicBezTo>
                    <a:pt x="222" y="48"/>
                    <a:pt x="195" y="0"/>
                    <a:pt x="127" y="0"/>
                  </a:cubicBezTo>
                  <a:cubicBezTo>
                    <a:pt x="114" y="0"/>
                    <a:pt x="107" y="0"/>
                    <a:pt x="95" y="0"/>
                  </a:cubicBezTo>
                  <a:cubicBezTo>
                    <a:pt x="27" y="0"/>
                    <a:pt x="0" y="48"/>
                    <a:pt x="0" y="48"/>
                  </a:cubicBezTo>
                  <a:cubicBezTo>
                    <a:pt x="30" y="97"/>
                    <a:pt x="30" y="97"/>
                    <a:pt x="30" y="97"/>
                  </a:cubicBezTo>
                  <a:cubicBezTo>
                    <a:pt x="66" y="237"/>
                    <a:pt x="66" y="237"/>
                    <a:pt x="66" y="237"/>
                  </a:cubicBezTo>
                  <a:cubicBezTo>
                    <a:pt x="66" y="237"/>
                    <a:pt x="82" y="251"/>
                    <a:pt x="111" y="251"/>
                  </a:cubicBezTo>
                  <a:cubicBezTo>
                    <a:pt x="140" y="251"/>
                    <a:pt x="156" y="237"/>
                    <a:pt x="156" y="237"/>
                  </a:cubicBezTo>
                  <a:lnTo>
                    <a:pt x="192" y="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Freeform 100"/>
            <p:cNvSpPr>
              <a:spLocks/>
            </p:cNvSpPr>
            <p:nvPr userDrawn="1"/>
          </p:nvSpPr>
          <p:spPr bwMode="auto">
            <a:xfrm>
              <a:off x="8882591" y="3376372"/>
              <a:ext cx="142874" cy="235548"/>
            </a:xfrm>
            <a:custGeom>
              <a:avLst/>
              <a:gdLst>
                <a:gd name="T0" fmla="*/ 0 w 52"/>
                <a:gd name="T1" fmla="*/ 0 h 87"/>
                <a:gd name="T2" fmla="*/ 0 w 52"/>
                <a:gd name="T3" fmla="*/ 61 h 87"/>
                <a:gd name="T4" fmla="*/ 26 w 52"/>
                <a:gd name="T5" fmla="*/ 87 h 87"/>
                <a:gd name="T6" fmla="*/ 52 w 52"/>
                <a:gd name="T7" fmla="*/ 61 h 87"/>
                <a:gd name="T8" fmla="*/ 52 w 52"/>
                <a:gd name="T9" fmla="*/ 0 h 87"/>
                <a:gd name="T10" fmla="*/ 0 w 52"/>
                <a:gd name="T11" fmla="*/ 0 h 87"/>
              </a:gdLst>
              <a:ahLst/>
              <a:cxnLst>
                <a:cxn ang="0">
                  <a:pos x="T0" y="T1"/>
                </a:cxn>
                <a:cxn ang="0">
                  <a:pos x="T2" y="T3"/>
                </a:cxn>
                <a:cxn ang="0">
                  <a:pos x="T4" y="T5"/>
                </a:cxn>
                <a:cxn ang="0">
                  <a:pos x="T6" y="T7"/>
                </a:cxn>
                <a:cxn ang="0">
                  <a:pos x="T8" y="T9"/>
                </a:cxn>
                <a:cxn ang="0">
                  <a:pos x="T10" y="T11"/>
                </a:cxn>
              </a:cxnLst>
              <a:rect l="0" t="0" r="r" b="b"/>
              <a:pathLst>
                <a:path w="52" h="87">
                  <a:moveTo>
                    <a:pt x="0" y="0"/>
                  </a:moveTo>
                  <a:cubicBezTo>
                    <a:pt x="0" y="61"/>
                    <a:pt x="0" y="61"/>
                    <a:pt x="0" y="61"/>
                  </a:cubicBezTo>
                  <a:cubicBezTo>
                    <a:pt x="0" y="76"/>
                    <a:pt x="12" y="87"/>
                    <a:pt x="26" y="87"/>
                  </a:cubicBezTo>
                  <a:cubicBezTo>
                    <a:pt x="40" y="87"/>
                    <a:pt x="52" y="76"/>
                    <a:pt x="52" y="61"/>
                  </a:cubicBezTo>
                  <a:cubicBezTo>
                    <a:pt x="52" y="0"/>
                    <a:pt x="52" y="0"/>
                    <a:pt x="52" y="0"/>
                  </a:cubicBezTo>
                  <a:lnTo>
                    <a:pt x="0" y="0"/>
                  </a:ln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Freeform 101"/>
            <p:cNvSpPr>
              <a:spLocks/>
            </p:cNvSpPr>
            <p:nvPr userDrawn="1"/>
          </p:nvSpPr>
          <p:spPr bwMode="auto">
            <a:xfrm>
              <a:off x="8731996" y="2982507"/>
              <a:ext cx="444065" cy="436342"/>
            </a:xfrm>
            <a:custGeom>
              <a:avLst/>
              <a:gdLst>
                <a:gd name="T0" fmla="*/ 162 w 164"/>
                <a:gd name="T1" fmla="*/ 84 h 163"/>
                <a:gd name="T2" fmla="*/ 79 w 164"/>
                <a:gd name="T3" fmla="*/ 162 h 163"/>
                <a:gd name="T4" fmla="*/ 2 w 164"/>
                <a:gd name="T5" fmla="*/ 78 h 163"/>
                <a:gd name="T6" fmla="*/ 85 w 164"/>
                <a:gd name="T7" fmla="*/ 1 h 163"/>
                <a:gd name="T8" fmla="*/ 162 w 164"/>
                <a:gd name="T9" fmla="*/ 84 h 163"/>
              </a:gdLst>
              <a:ahLst/>
              <a:cxnLst>
                <a:cxn ang="0">
                  <a:pos x="T0" y="T1"/>
                </a:cxn>
                <a:cxn ang="0">
                  <a:pos x="T2" y="T3"/>
                </a:cxn>
                <a:cxn ang="0">
                  <a:pos x="T4" y="T5"/>
                </a:cxn>
                <a:cxn ang="0">
                  <a:pos x="T6" y="T7"/>
                </a:cxn>
                <a:cxn ang="0">
                  <a:pos x="T8" y="T9"/>
                </a:cxn>
              </a:cxnLst>
              <a:rect l="0" t="0" r="r" b="b"/>
              <a:pathLst>
                <a:path w="164" h="163">
                  <a:moveTo>
                    <a:pt x="162" y="84"/>
                  </a:moveTo>
                  <a:cubicBezTo>
                    <a:pt x="160" y="129"/>
                    <a:pt x="123" y="163"/>
                    <a:pt x="79" y="162"/>
                  </a:cubicBezTo>
                  <a:cubicBezTo>
                    <a:pt x="35" y="160"/>
                    <a:pt x="0" y="123"/>
                    <a:pt x="2" y="78"/>
                  </a:cubicBezTo>
                  <a:cubicBezTo>
                    <a:pt x="3" y="34"/>
                    <a:pt x="41" y="0"/>
                    <a:pt x="85" y="1"/>
                  </a:cubicBezTo>
                  <a:cubicBezTo>
                    <a:pt x="129" y="3"/>
                    <a:pt x="164" y="40"/>
                    <a:pt x="162" y="84"/>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Freeform 102"/>
            <p:cNvSpPr>
              <a:spLocks/>
            </p:cNvSpPr>
            <p:nvPr userDrawn="1"/>
          </p:nvSpPr>
          <p:spPr bwMode="auto">
            <a:xfrm>
              <a:off x="8813085" y="2789436"/>
              <a:ext cx="285745" cy="285745"/>
            </a:xfrm>
            <a:custGeom>
              <a:avLst/>
              <a:gdLst>
                <a:gd name="T0" fmla="*/ 105 w 106"/>
                <a:gd name="T1" fmla="*/ 55 h 106"/>
                <a:gd name="T2" fmla="*/ 51 w 106"/>
                <a:gd name="T3" fmla="*/ 105 h 106"/>
                <a:gd name="T4" fmla="*/ 1 w 106"/>
                <a:gd name="T5" fmla="*/ 51 h 106"/>
                <a:gd name="T6" fmla="*/ 55 w 106"/>
                <a:gd name="T7" fmla="*/ 1 h 106"/>
                <a:gd name="T8" fmla="*/ 105 w 106"/>
                <a:gd name="T9" fmla="*/ 55 h 106"/>
              </a:gdLst>
              <a:ahLst/>
              <a:cxnLst>
                <a:cxn ang="0">
                  <a:pos x="T0" y="T1"/>
                </a:cxn>
                <a:cxn ang="0">
                  <a:pos x="T2" y="T3"/>
                </a:cxn>
                <a:cxn ang="0">
                  <a:pos x="T4" y="T5"/>
                </a:cxn>
                <a:cxn ang="0">
                  <a:pos x="T6" y="T7"/>
                </a:cxn>
                <a:cxn ang="0">
                  <a:pos x="T8" y="T9"/>
                </a:cxn>
              </a:cxnLst>
              <a:rect l="0" t="0" r="r" b="b"/>
              <a:pathLst>
                <a:path w="106" h="106">
                  <a:moveTo>
                    <a:pt x="105" y="55"/>
                  </a:moveTo>
                  <a:cubicBezTo>
                    <a:pt x="103" y="83"/>
                    <a:pt x="79" y="106"/>
                    <a:pt x="51" y="105"/>
                  </a:cubicBezTo>
                  <a:cubicBezTo>
                    <a:pt x="22" y="103"/>
                    <a:pt x="0" y="79"/>
                    <a:pt x="1" y="51"/>
                  </a:cubicBezTo>
                  <a:cubicBezTo>
                    <a:pt x="2" y="22"/>
                    <a:pt x="26" y="0"/>
                    <a:pt x="55" y="1"/>
                  </a:cubicBezTo>
                  <a:cubicBezTo>
                    <a:pt x="83" y="2"/>
                    <a:pt x="106" y="26"/>
                    <a:pt x="105" y="55"/>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Freeform 103"/>
            <p:cNvSpPr>
              <a:spLocks/>
            </p:cNvSpPr>
            <p:nvPr userDrawn="1"/>
          </p:nvSpPr>
          <p:spPr bwMode="auto">
            <a:xfrm>
              <a:off x="9083384" y="3221915"/>
              <a:ext cx="88814" cy="84951"/>
            </a:xfrm>
            <a:custGeom>
              <a:avLst/>
              <a:gdLst>
                <a:gd name="T0" fmla="*/ 33 w 33"/>
                <a:gd name="T1" fmla="*/ 16 h 32"/>
                <a:gd name="T2" fmla="*/ 17 w 33"/>
                <a:gd name="T3" fmla="*/ 32 h 32"/>
                <a:gd name="T4" fmla="*/ 0 w 33"/>
                <a:gd name="T5" fmla="*/ 16 h 32"/>
                <a:gd name="T6" fmla="*/ 17 w 33"/>
                <a:gd name="T7" fmla="*/ 0 h 32"/>
                <a:gd name="T8" fmla="*/ 33 w 33"/>
                <a:gd name="T9" fmla="*/ 16 h 32"/>
              </a:gdLst>
              <a:ahLst/>
              <a:cxnLst>
                <a:cxn ang="0">
                  <a:pos x="T0" y="T1"/>
                </a:cxn>
                <a:cxn ang="0">
                  <a:pos x="T2" y="T3"/>
                </a:cxn>
                <a:cxn ang="0">
                  <a:pos x="T4" y="T5"/>
                </a:cxn>
                <a:cxn ang="0">
                  <a:pos x="T6" y="T7"/>
                </a:cxn>
                <a:cxn ang="0">
                  <a:pos x="T8" y="T9"/>
                </a:cxn>
              </a:cxnLst>
              <a:rect l="0" t="0" r="r" b="b"/>
              <a:pathLst>
                <a:path w="33" h="32">
                  <a:moveTo>
                    <a:pt x="33" y="16"/>
                  </a:moveTo>
                  <a:cubicBezTo>
                    <a:pt x="33" y="25"/>
                    <a:pt x="26" y="32"/>
                    <a:pt x="17" y="32"/>
                  </a:cubicBezTo>
                  <a:cubicBezTo>
                    <a:pt x="8" y="32"/>
                    <a:pt x="0" y="25"/>
                    <a:pt x="0" y="16"/>
                  </a:cubicBezTo>
                  <a:cubicBezTo>
                    <a:pt x="1" y="7"/>
                    <a:pt x="8" y="0"/>
                    <a:pt x="17" y="0"/>
                  </a:cubicBezTo>
                  <a:cubicBezTo>
                    <a:pt x="26" y="0"/>
                    <a:pt x="33" y="7"/>
                    <a:pt x="33" y="16"/>
                  </a:cubicBez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Freeform 104"/>
            <p:cNvSpPr>
              <a:spLocks/>
            </p:cNvSpPr>
            <p:nvPr userDrawn="1"/>
          </p:nvSpPr>
          <p:spPr bwMode="auto">
            <a:xfrm>
              <a:off x="9087247" y="3221915"/>
              <a:ext cx="84951" cy="69506"/>
            </a:xfrm>
            <a:custGeom>
              <a:avLst/>
              <a:gdLst>
                <a:gd name="T0" fmla="*/ 13 w 31"/>
                <a:gd name="T1" fmla="*/ 3 h 26"/>
                <a:gd name="T2" fmla="*/ 29 w 31"/>
                <a:gd name="T3" fmla="*/ 20 h 26"/>
                <a:gd name="T4" fmla="*/ 27 w 31"/>
                <a:gd name="T5" fmla="*/ 26 h 26"/>
                <a:gd name="T6" fmla="*/ 31 w 31"/>
                <a:gd name="T7" fmla="*/ 16 h 26"/>
                <a:gd name="T8" fmla="*/ 15 w 31"/>
                <a:gd name="T9" fmla="*/ 0 h 26"/>
                <a:gd name="T10" fmla="*/ 0 w 31"/>
                <a:gd name="T11" fmla="*/ 9 h 26"/>
                <a:gd name="T12" fmla="*/ 13 w 31"/>
                <a:gd name="T13" fmla="*/ 3 h 26"/>
              </a:gdLst>
              <a:ahLst/>
              <a:cxnLst>
                <a:cxn ang="0">
                  <a:pos x="T0" y="T1"/>
                </a:cxn>
                <a:cxn ang="0">
                  <a:pos x="T2" y="T3"/>
                </a:cxn>
                <a:cxn ang="0">
                  <a:pos x="T4" y="T5"/>
                </a:cxn>
                <a:cxn ang="0">
                  <a:pos x="T6" y="T7"/>
                </a:cxn>
                <a:cxn ang="0">
                  <a:pos x="T8" y="T9"/>
                </a:cxn>
                <a:cxn ang="0">
                  <a:pos x="T10" y="T11"/>
                </a:cxn>
                <a:cxn ang="0">
                  <a:pos x="T12" y="T13"/>
                </a:cxn>
              </a:cxnLst>
              <a:rect l="0" t="0" r="r" b="b"/>
              <a:pathLst>
                <a:path w="31" h="26">
                  <a:moveTo>
                    <a:pt x="13" y="3"/>
                  </a:moveTo>
                  <a:cubicBezTo>
                    <a:pt x="22" y="3"/>
                    <a:pt x="29" y="11"/>
                    <a:pt x="29" y="20"/>
                  </a:cubicBezTo>
                  <a:cubicBezTo>
                    <a:pt x="29" y="22"/>
                    <a:pt x="28" y="24"/>
                    <a:pt x="27" y="26"/>
                  </a:cubicBezTo>
                  <a:cubicBezTo>
                    <a:pt x="30" y="23"/>
                    <a:pt x="31" y="20"/>
                    <a:pt x="31" y="16"/>
                  </a:cubicBezTo>
                  <a:cubicBezTo>
                    <a:pt x="31" y="7"/>
                    <a:pt x="24" y="0"/>
                    <a:pt x="15" y="0"/>
                  </a:cubicBezTo>
                  <a:cubicBezTo>
                    <a:pt x="8" y="0"/>
                    <a:pt x="2" y="4"/>
                    <a:pt x="0" y="9"/>
                  </a:cubicBezTo>
                  <a:cubicBezTo>
                    <a:pt x="3" y="6"/>
                    <a:pt x="7" y="3"/>
                    <a:pt x="13" y="3"/>
                  </a:cubicBez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Oval 105"/>
            <p:cNvSpPr>
              <a:spLocks noChangeArrowheads="1"/>
            </p:cNvSpPr>
            <p:nvPr userDrawn="1"/>
          </p:nvSpPr>
          <p:spPr bwMode="auto">
            <a:xfrm>
              <a:off x="8735857" y="3218055"/>
              <a:ext cx="84951" cy="88814"/>
            </a:xfrm>
            <a:prstGeom prst="ellipse">
              <a:avLst/>
            </a:pr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Freeform 106"/>
            <p:cNvSpPr>
              <a:spLocks/>
            </p:cNvSpPr>
            <p:nvPr userDrawn="1"/>
          </p:nvSpPr>
          <p:spPr bwMode="auto">
            <a:xfrm>
              <a:off x="8735857" y="3218055"/>
              <a:ext cx="84951" cy="69506"/>
            </a:xfrm>
            <a:custGeom>
              <a:avLst/>
              <a:gdLst>
                <a:gd name="T0" fmla="*/ 18 w 31"/>
                <a:gd name="T1" fmla="*/ 4 h 26"/>
                <a:gd name="T2" fmla="*/ 2 w 31"/>
                <a:gd name="T3" fmla="*/ 20 h 26"/>
                <a:gd name="T4" fmla="*/ 3 w 31"/>
                <a:gd name="T5" fmla="*/ 26 h 26"/>
                <a:gd name="T6" fmla="*/ 0 w 31"/>
                <a:gd name="T7" fmla="*/ 16 h 26"/>
                <a:gd name="T8" fmla="*/ 16 w 31"/>
                <a:gd name="T9" fmla="*/ 0 h 26"/>
                <a:gd name="T10" fmla="*/ 31 w 31"/>
                <a:gd name="T11" fmla="*/ 10 h 26"/>
                <a:gd name="T12" fmla="*/ 18 w 31"/>
                <a:gd name="T13" fmla="*/ 4 h 26"/>
              </a:gdLst>
              <a:ahLst/>
              <a:cxnLst>
                <a:cxn ang="0">
                  <a:pos x="T0" y="T1"/>
                </a:cxn>
                <a:cxn ang="0">
                  <a:pos x="T2" y="T3"/>
                </a:cxn>
                <a:cxn ang="0">
                  <a:pos x="T4" y="T5"/>
                </a:cxn>
                <a:cxn ang="0">
                  <a:pos x="T6" y="T7"/>
                </a:cxn>
                <a:cxn ang="0">
                  <a:pos x="T8" y="T9"/>
                </a:cxn>
                <a:cxn ang="0">
                  <a:pos x="T10" y="T11"/>
                </a:cxn>
                <a:cxn ang="0">
                  <a:pos x="T12" y="T13"/>
                </a:cxn>
              </a:cxnLst>
              <a:rect l="0" t="0" r="r" b="b"/>
              <a:pathLst>
                <a:path w="31" h="26">
                  <a:moveTo>
                    <a:pt x="18" y="4"/>
                  </a:moveTo>
                  <a:cubicBezTo>
                    <a:pt x="9" y="4"/>
                    <a:pt x="2" y="11"/>
                    <a:pt x="2" y="20"/>
                  </a:cubicBezTo>
                  <a:cubicBezTo>
                    <a:pt x="2" y="22"/>
                    <a:pt x="2" y="24"/>
                    <a:pt x="3" y="26"/>
                  </a:cubicBezTo>
                  <a:cubicBezTo>
                    <a:pt x="1" y="23"/>
                    <a:pt x="0" y="20"/>
                    <a:pt x="0" y="16"/>
                  </a:cubicBezTo>
                  <a:cubicBezTo>
                    <a:pt x="0" y="7"/>
                    <a:pt x="7" y="0"/>
                    <a:pt x="16" y="0"/>
                  </a:cubicBezTo>
                  <a:cubicBezTo>
                    <a:pt x="23" y="0"/>
                    <a:pt x="29" y="4"/>
                    <a:pt x="31" y="10"/>
                  </a:cubicBezTo>
                  <a:cubicBezTo>
                    <a:pt x="28" y="6"/>
                    <a:pt x="24" y="4"/>
                    <a:pt x="18" y="4"/>
                  </a:cubicBez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Freeform 107"/>
            <p:cNvSpPr>
              <a:spLocks/>
            </p:cNvSpPr>
            <p:nvPr userDrawn="1"/>
          </p:nvSpPr>
          <p:spPr bwMode="auto">
            <a:xfrm>
              <a:off x="8774471" y="3144687"/>
              <a:ext cx="355251" cy="343668"/>
            </a:xfrm>
            <a:custGeom>
              <a:avLst/>
              <a:gdLst>
                <a:gd name="T0" fmla="*/ 131 w 131"/>
                <a:gd name="T1" fmla="*/ 10 h 129"/>
                <a:gd name="T2" fmla="*/ 124 w 131"/>
                <a:gd name="T3" fmla="*/ 1 h 129"/>
                <a:gd name="T4" fmla="*/ 9 w 131"/>
                <a:gd name="T5" fmla="*/ 0 h 129"/>
                <a:gd name="T6" fmla="*/ 1 w 131"/>
                <a:gd name="T7" fmla="*/ 9 h 129"/>
                <a:gd name="T8" fmla="*/ 0 w 131"/>
                <a:gd name="T9" fmla="*/ 80 h 129"/>
                <a:gd name="T10" fmla="*/ 0 w 131"/>
                <a:gd name="T11" fmla="*/ 81 h 129"/>
                <a:gd name="T12" fmla="*/ 0 w 131"/>
                <a:gd name="T13" fmla="*/ 83 h 129"/>
                <a:gd name="T14" fmla="*/ 6 w 131"/>
                <a:gd name="T15" fmla="*/ 95 h 129"/>
                <a:gd name="T16" fmla="*/ 6 w 131"/>
                <a:gd name="T17" fmla="*/ 95 h 129"/>
                <a:gd name="T18" fmla="*/ 6 w 131"/>
                <a:gd name="T19" fmla="*/ 95 h 129"/>
                <a:gd name="T20" fmla="*/ 10 w 131"/>
                <a:gd name="T21" fmla="*/ 98 h 129"/>
                <a:gd name="T22" fmla="*/ 49 w 131"/>
                <a:gd name="T23" fmla="*/ 122 h 129"/>
                <a:gd name="T24" fmla="*/ 57 w 131"/>
                <a:gd name="T25" fmla="*/ 129 h 129"/>
                <a:gd name="T26" fmla="*/ 74 w 131"/>
                <a:gd name="T27" fmla="*/ 129 h 129"/>
                <a:gd name="T28" fmla="*/ 82 w 131"/>
                <a:gd name="T29" fmla="*/ 123 h 129"/>
                <a:gd name="T30" fmla="*/ 121 w 131"/>
                <a:gd name="T31" fmla="*/ 99 h 129"/>
                <a:gd name="T32" fmla="*/ 126 w 131"/>
                <a:gd name="T33" fmla="*/ 96 h 129"/>
                <a:gd name="T34" fmla="*/ 126 w 131"/>
                <a:gd name="T35" fmla="*/ 96 h 129"/>
                <a:gd name="T36" fmla="*/ 126 w 131"/>
                <a:gd name="T37" fmla="*/ 96 h 129"/>
                <a:gd name="T38" fmla="*/ 131 w 131"/>
                <a:gd name="T39" fmla="*/ 84 h 129"/>
                <a:gd name="T40" fmla="*/ 131 w 131"/>
                <a:gd name="T41" fmla="*/ 82 h 129"/>
                <a:gd name="T42" fmla="*/ 131 w 131"/>
                <a:gd name="T43" fmla="*/ 81 h 129"/>
                <a:gd name="T44" fmla="*/ 131 w 131"/>
                <a:gd name="T45" fmla="*/ 1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1" h="129">
                  <a:moveTo>
                    <a:pt x="131" y="10"/>
                  </a:moveTo>
                  <a:cubicBezTo>
                    <a:pt x="131" y="5"/>
                    <a:pt x="128" y="1"/>
                    <a:pt x="124" y="1"/>
                  </a:cubicBezTo>
                  <a:cubicBezTo>
                    <a:pt x="9" y="0"/>
                    <a:pt x="9" y="0"/>
                    <a:pt x="9" y="0"/>
                  </a:cubicBezTo>
                  <a:cubicBezTo>
                    <a:pt x="4" y="0"/>
                    <a:pt x="1" y="4"/>
                    <a:pt x="1" y="9"/>
                  </a:cubicBezTo>
                  <a:cubicBezTo>
                    <a:pt x="0" y="80"/>
                    <a:pt x="0" y="80"/>
                    <a:pt x="0" y="80"/>
                  </a:cubicBezTo>
                  <a:cubicBezTo>
                    <a:pt x="0" y="81"/>
                    <a:pt x="0" y="81"/>
                    <a:pt x="0" y="81"/>
                  </a:cubicBezTo>
                  <a:cubicBezTo>
                    <a:pt x="0" y="82"/>
                    <a:pt x="0" y="82"/>
                    <a:pt x="0" y="83"/>
                  </a:cubicBezTo>
                  <a:cubicBezTo>
                    <a:pt x="0" y="88"/>
                    <a:pt x="2" y="92"/>
                    <a:pt x="6" y="95"/>
                  </a:cubicBezTo>
                  <a:cubicBezTo>
                    <a:pt x="6" y="95"/>
                    <a:pt x="6" y="95"/>
                    <a:pt x="6" y="95"/>
                  </a:cubicBezTo>
                  <a:cubicBezTo>
                    <a:pt x="6" y="95"/>
                    <a:pt x="6" y="95"/>
                    <a:pt x="6" y="95"/>
                  </a:cubicBezTo>
                  <a:cubicBezTo>
                    <a:pt x="7" y="97"/>
                    <a:pt x="9" y="98"/>
                    <a:pt x="10" y="98"/>
                  </a:cubicBezTo>
                  <a:cubicBezTo>
                    <a:pt x="49" y="122"/>
                    <a:pt x="49" y="122"/>
                    <a:pt x="49" y="122"/>
                  </a:cubicBezTo>
                  <a:cubicBezTo>
                    <a:pt x="51" y="126"/>
                    <a:pt x="54" y="129"/>
                    <a:pt x="57" y="129"/>
                  </a:cubicBezTo>
                  <a:cubicBezTo>
                    <a:pt x="74" y="129"/>
                    <a:pt x="74" y="129"/>
                    <a:pt x="74" y="129"/>
                  </a:cubicBezTo>
                  <a:cubicBezTo>
                    <a:pt x="76" y="129"/>
                    <a:pt x="80" y="126"/>
                    <a:pt x="82" y="123"/>
                  </a:cubicBezTo>
                  <a:cubicBezTo>
                    <a:pt x="121" y="99"/>
                    <a:pt x="121" y="99"/>
                    <a:pt x="121" y="99"/>
                  </a:cubicBezTo>
                  <a:cubicBezTo>
                    <a:pt x="123" y="98"/>
                    <a:pt x="124" y="97"/>
                    <a:pt x="126" y="96"/>
                  </a:cubicBezTo>
                  <a:cubicBezTo>
                    <a:pt x="126" y="96"/>
                    <a:pt x="126" y="96"/>
                    <a:pt x="126" y="96"/>
                  </a:cubicBezTo>
                  <a:cubicBezTo>
                    <a:pt x="126" y="96"/>
                    <a:pt x="126" y="96"/>
                    <a:pt x="126" y="96"/>
                  </a:cubicBezTo>
                  <a:cubicBezTo>
                    <a:pt x="129" y="93"/>
                    <a:pt x="131" y="89"/>
                    <a:pt x="131" y="84"/>
                  </a:cubicBezTo>
                  <a:cubicBezTo>
                    <a:pt x="131" y="83"/>
                    <a:pt x="131" y="83"/>
                    <a:pt x="131" y="82"/>
                  </a:cubicBezTo>
                  <a:cubicBezTo>
                    <a:pt x="131" y="82"/>
                    <a:pt x="131" y="81"/>
                    <a:pt x="131" y="81"/>
                  </a:cubicBezTo>
                  <a:cubicBezTo>
                    <a:pt x="131" y="10"/>
                    <a:pt x="131" y="10"/>
                    <a:pt x="131" y="10"/>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Freeform 108"/>
            <p:cNvSpPr>
              <a:spLocks/>
            </p:cNvSpPr>
            <p:nvPr userDrawn="1"/>
          </p:nvSpPr>
          <p:spPr bwMode="auto">
            <a:xfrm>
              <a:off x="8774471" y="3144687"/>
              <a:ext cx="139011" cy="335945"/>
            </a:xfrm>
            <a:custGeom>
              <a:avLst/>
              <a:gdLst>
                <a:gd name="T0" fmla="*/ 49 w 51"/>
                <a:gd name="T1" fmla="*/ 122 h 126"/>
                <a:gd name="T2" fmla="*/ 15 w 51"/>
                <a:gd name="T3" fmla="*/ 98 h 126"/>
                <a:gd name="T4" fmla="*/ 10 w 51"/>
                <a:gd name="T5" fmla="*/ 95 h 126"/>
                <a:gd name="T6" fmla="*/ 10 w 51"/>
                <a:gd name="T7" fmla="*/ 95 h 126"/>
                <a:gd name="T8" fmla="*/ 10 w 51"/>
                <a:gd name="T9" fmla="*/ 95 h 126"/>
                <a:gd name="T10" fmla="*/ 5 w 51"/>
                <a:gd name="T11" fmla="*/ 83 h 126"/>
                <a:gd name="T12" fmla="*/ 5 w 51"/>
                <a:gd name="T13" fmla="*/ 81 h 126"/>
                <a:gd name="T14" fmla="*/ 5 w 51"/>
                <a:gd name="T15" fmla="*/ 80 h 126"/>
                <a:gd name="T16" fmla="*/ 5 w 51"/>
                <a:gd name="T17" fmla="*/ 9 h 126"/>
                <a:gd name="T18" fmla="*/ 13 w 51"/>
                <a:gd name="T19" fmla="*/ 0 h 126"/>
                <a:gd name="T20" fmla="*/ 9 w 51"/>
                <a:gd name="T21" fmla="*/ 0 h 126"/>
                <a:gd name="T22" fmla="*/ 1 w 51"/>
                <a:gd name="T23" fmla="*/ 9 h 126"/>
                <a:gd name="T24" fmla="*/ 0 w 51"/>
                <a:gd name="T25" fmla="*/ 80 h 126"/>
                <a:gd name="T26" fmla="*/ 0 w 51"/>
                <a:gd name="T27" fmla="*/ 81 h 126"/>
                <a:gd name="T28" fmla="*/ 0 w 51"/>
                <a:gd name="T29" fmla="*/ 83 h 126"/>
                <a:gd name="T30" fmla="*/ 6 w 51"/>
                <a:gd name="T31" fmla="*/ 95 h 126"/>
                <a:gd name="T32" fmla="*/ 6 w 51"/>
                <a:gd name="T33" fmla="*/ 95 h 126"/>
                <a:gd name="T34" fmla="*/ 6 w 51"/>
                <a:gd name="T35" fmla="*/ 95 h 126"/>
                <a:gd name="T36" fmla="*/ 10 w 51"/>
                <a:gd name="T37" fmla="*/ 98 h 126"/>
                <a:gd name="T38" fmla="*/ 49 w 51"/>
                <a:gd name="T39" fmla="*/ 122 h 126"/>
                <a:gd name="T40" fmla="*/ 49 w 51"/>
                <a:gd name="T41" fmla="*/ 12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26">
                  <a:moveTo>
                    <a:pt x="49" y="122"/>
                  </a:moveTo>
                  <a:cubicBezTo>
                    <a:pt x="15" y="98"/>
                    <a:pt x="15" y="98"/>
                    <a:pt x="15" y="98"/>
                  </a:cubicBezTo>
                  <a:cubicBezTo>
                    <a:pt x="13" y="98"/>
                    <a:pt x="12" y="97"/>
                    <a:pt x="10" y="95"/>
                  </a:cubicBezTo>
                  <a:cubicBezTo>
                    <a:pt x="10" y="95"/>
                    <a:pt x="10" y="95"/>
                    <a:pt x="10" y="95"/>
                  </a:cubicBezTo>
                  <a:cubicBezTo>
                    <a:pt x="10" y="95"/>
                    <a:pt x="10" y="95"/>
                    <a:pt x="10" y="95"/>
                  </a:cubicBezTo>
                  <a:cubicBezTo>
                    <a:pt x="7" y="92"/>
                    <a:pt x="5" y="88"/>
                    <a:pt x="5" y="83"/>
                  </a:cubicBezTo>
                  <a:cubicBezTo>
                    <a:pt x="5" y="82"/>
                    <a:pt x="5" y="82"/>
                    <a:pt x="5" y="81"/>
                  </a:cubicBezTo>
                  <a:cubicBezTo>
                    <a:pt x="5" y="81"/>
                    <a:pt x="5" y="81"/>
                    <a:pt x="5" y="80"/>
                  </a:cubicBezTo>
                  <a:cubicBezTo>
                    <a:pt x="5" y="9"/>
                    <a:pt x="5" y="9"/>
                    <a:pt x="5" y="9"/>
                  </a:cubicBezTo>
                  <a:cubicBezTo>
                    <a:pt x="5" y="4"/>
                    <a:pt x="9" y="0"/>
                    <a:pt x="13" y="0"/>
                  </a:cubicBezTo>
                  <a:cubicBezTo>
                    <a:pt x="9" y="0"/>
                    <a:pt x="9" y="0"/>
                    <a:pt x="9" y="0"/>
                  </a:cubicBezTo>
                  <a:cubicBezTo>
                    <a:pt x="4" y="0"/>
                    <a:pt x="1" y="4"/>
                    <a:pt x="1" y="9"/>
                  </a:cubicBezTo>
                  <a:cubicBezTo>
                    <a:pt x="0" y="80"/>
                    <a:pt x="0" y="80"/>
                    <a:pt x="0" y="80"/>
                  </a:cubicBezTo>
                  <a:cubicBezTo>
                    <a:pt x="0" y="81"/>
                    <a:pt x="0" y="81"/>
                    <a:pt x="0" y="81"/>
                  </a:cubicBezTo>
                  <a:cubicBezTo>
                    <a:pt x="0" y="82"/>
                    <a:pt x="0" y="82"/>
                    <a:pt x="0" y="83"/>
                  </a:cubicBezTo>
                  <a:cubicBezTo>
                    <a:pt x="0" y="88"/>
                    <a:pt x="2" y="92"/>
                    <a:pt x="6" y="95"/>
                  </a:cubicBezTo>
                  <a:cubicBezTo>
                    <a:pt x="6" y="95"/>
                    <a:pt x="6" y="95"/>
                    <a:pt x="6" y="95"/>
                  </a:cubicBezTo>
                  <a:cubicBezTo>
                    <a:pt x="6" y="95"/>
                    <a:pt x="6" y="95"/>
                    <a:pt x="6" y="95"/>
                  </a:cubicBezTo>
                  <a:cubicBezTo>
                    <a:pt x="7" y="97"/>
                    <a:pt x="9" y="98"/>
                    <a:pt x="10" y="98"/>
                  </a:cubicBezTo>
                  <a:cubicBezTo>
                    <a:pt x="49" y="122"/>
                    <a:pt x="49" y="122"/>
                    <a:pt x="49" y="122"/>
                  </a:cubicBezTo>
                  <a:cubicBezTo>
                    <a:pt x="51" y="126"/>
                    <a:pt x="51" y="126"/>
                    <a:pt x="49" y="122"/>
                  </a:cubicBez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Freeform 109"/>
            <p:cNvSpPr>
              <a:spLocks/>
            </p:cNvSpPr>
            <p:nvPr userDrawn="1"/>
          </p:nvSpPr>
          <p:spPr bwMode="auto">
            <a:xfrm>
              <a:off x="8998433" y="3160132"/>
              <a:ext cx="131288" cy="312776"/>
            </a:xfrm>
            <a:custGeom>
              <a:avLst/>
              <a:gdLst>
                <a:gd name="T0" fmla="*/ 49 w 49"/>
                <a:gd name="T1" fmla="*/ 4 h 117"/>
                <a:gd name="T2" fmla="*/ 45 w 49"/>
                <a:gd name="T3" fmla="*/ 71 h 117"/>
                <a:gd name="T4" fmla="*/ 45 w 49"/>
                <a:gd name="T5" fmla="*/ 72 h 117"/>
                <a:gd name="T6" fmla="*/ 45 w 49"/>
                <a:gd name="T7" fmla="*/ 73 h 117"/>
                <a:gd name="T8" fmla="*/ 40 w 49"/>
                <a:gd name="T9" fmla="*/ 85 h 117"/>
                <a:gd name="T10" fmla="*/ 35 w 49"/>
                <a:gd name="T11" fmla="*/ 89 h 117"/>
                <a:gd name="T12" fmla="*/ 0 w 49"/>
                <a:gd name="T13" fmla="*/ 117 h 117"/>
                <a:gd name="T14" fmla="*/ 39 w 49"/>
                <a:gd name="T15" fmla="*/ 93 h 117"/>
                <a:gd name="T16" fmla="*/ 44 w 49"/>
                <a:gd name="T17" fmla="*/ 90 h 117"/>
                <a:gd name="T18" fmla="*/ 44 w 49"/>
                <a:gd name="T19" fmla="*/ 90 h 117"/>
                <a:gd name="T20" fmla="*/ 44 w 49"/>
                <a:gd name="T21" fmla="*/ 90 h 117"/>
                <a:gd name="T22" fmla="*/ 49 w 49"/>
                <a:gd name="T23" fmla="*/ 78 h 117"/>
                <a:gd name="T24" fmla="*/ 49 w 49"/>
                <a:gd name="T25" fmla="*/ 76 h 117"/>
                <a:gd name="T26" fmla="*/ 49 w 49"/>
                <a:gd name="T27" fmla="*/ 75 h 117"/>
                <a:gd name="T28" fmla="*/ 49 w 49"/>
                <a:gd name="T29" fmla="*/ 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117">
                  <a:moveTo>
                    <a:pt x="49" y="4"/>
                  </a:moveTo>
                  <a:cubicBezTo>
                    <a:pt x="49" y="0"/>
                    <a:pt x="45" y="71"/>
                    <a:pt x="45" y="71"/>
                  </a:cubicBezTo>
                  <a:cubicBezTo>
                    <a:pt x="45" y="71"/>
                    <a:pt x="45" y="71"/>
                    <a:pt x="45" y="72"/>
                  </a:cubicBezTo>
                  <a:cubicBezTo>
                    <a:pt x="45" y="72"/>
                    <a:pt x="45" y="73"/>
                    <a:pt x="45" y="73"/>
                  </a:cubicBezTo>
                  <a:cubicBezTo>
                    <a:pt x="45" y="78"/>
                    <a:pt x="41" y="84"/>
                    <a:pt x="40" y="85"/>
                  </a:cubicBezTo>
                  <a:cubicBezTo>
                    <a:pt x="38" y="86"/>
                    <a:pt x="37" y="87"/>
                    <a:pt x="35" y="89"/>
                  </a:cubicBezTo>
                  <a:cubicBezTo>
                    <a:pt x="33" y="90"/>
                    <a:pt x="3" y="114"/>
                    <a:pt x="0" y="117"/>
                  </a:cubicBezTo>
                  <a:cubicBezTo>
                    <a:pt x="39" y="93"/>
                    <a:pt x="39" y="93"/>
                    <a:pt x="39" y="93"/>
                  </a:cubicBezTo>
                  <a:cubicBezTo>
                    <a:pt x="41" y="92"/>
                    <a:pt x="42" y="91"/>
                    <a:pt x="44" y="90"/>
                  </a:cubicBezTo>
                  <a:cubicBezTo>
                    <a:pt x="44" y="90"/>
                    <a:pt x="44" y="90"/>
                    <a:pt x="44" y="90"/>
                  </a:cubicBezTo>
                  <a:cubicBezTo>
                    <a:pt x="44" y="90"/>
                    <a:pt x="44" y="90"/>
                    <a:pt x="44" y="90"/>
                  </a:cubicBezTo>
                  <a:cubicBezTo>
                    <a:pt x="47" y="87"/>
                    <a:pt x="49" y="83"/>
                    <a:pt x="49" y="78"/>
                  </a:cubicBezTo>
                  <a:cubicBezTo>
                    <a:pt x="49" y="77"/>
                    <a:pt x="49" y="77"/>
                    <a:pt x="49" y="76"/>
                  </a:cubicBezTo>
                  <a:cubicBezTo>
                    <a:pt x="49" y="76"/>
                    <a:pt x="49" y="75"/>
                    <a:pt x="49" y="75"/>
                  </a:cubicBezTo>
                  <a:lnTo>
                    <a:pt x="49" y="4"/>
                  </a:ln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10"/>
            <p:cNvSpPr>
              <a:spLocks/>
            </p:cNvSpPr>
            <p:nvPr userDrawn="1"/>
          </p:nvSpPr>
          <p:spPr bwMode="auto">
            <a:xfrm>
              <a:off x="8874868" y="3260529"/>
              <a:ext cx="38614" cy="34754"/>
            </a:xfrm>
            <a:custGeom>
              <a:avLst/>
              <a:gdLst>
                <a:gd name="T0" fmla="*/ 7 w 15"/>
                <a:gd name="T1" fmla="*/ 11 h 12"/>
                <a:gd name="T2" fmla="*/ 13 w 15"/>
                <a:gd name="T3" fmla="*/ 12 h 12"/>
                <a:gd name="T4" fmla="*/ 15 w 15"/>
                <a:gd name="T5" fmla="*/ 7 h 12"/>
                <a:gd name="T6" fmla="*/ 7 w 15"/>
                <a:gd name="T7" fmla="*/ 0 h 12"/>
                <a:gd name="T8" fmla="*/ 0 w 15"/>
                <a:gd name="T9" fmla="*/ 7 h 12"/>
                <a:gd name="T10" fmla="*/ 2 w 15"/>
                <a:gd name="T11" fmla="*/ 12 h 12"/>
                <a:gd name="T12" fmla="*/ 7 w 15"/>
                <a:gd name="T13" fmla="*/ 11 h 12"/>
              </a:gdLst>
              <a:ahLst/>
              <a:cxnLst>
                <a:cxn ang="0">
                  <a:pos x="T0" y="T1"/>
                </a:cxn>
                <a:cxn ang="0">
                  <a:pos x="T2" y="T3"/>
                </a:cxn>
                <a:cxn ang="0">
                  <a:pos x="T4" y="T5"/>
                </a:cxn>
                <a:cxn ang="0">
                  <a:pos x="T6" y="T7"/>
                </a:cxn>
                <a:cxn ang="0">
                  <a:pos x="T8" y="T9"/>
                </a:cxn>
                <a:cxn ang="0">
                  <a:pos x="T10" y="T11"/>
                </a:cxn>
                <a:cxn ang="0">
                  <a:pos x="T12" y="T13"/>
                </a:cxn>
              </a:cxnLst>
              <a:rect l="0" t="0" r="r" b="b"/>
              <a:pathLst>
                <a:path w="15" h="12">
                  <a:moveTo>
                    <a:pt x="7" y="11"/>
                  </a:moveTo>
                  <a:cubicBezTo>
                    <a:pt x="9" y="11"/>
                    <a:pt x="11" y="11"/>
                    <a:pt x="13" y="12"/>
                  </a:cubicBezTo>
                  <a:cubicBezTo>
                    <a:pt x="14" y="11"/>
                    <a:pt x="15" y="9"/>
                    <a:pt x="15" y="7"/>
                  </a:cubicBezTo>
                  <a:cubicBezTo>
                    <a:pt x="15" y="3"/>
                    <a:pt x="11" y="0"/>
                    <a:pt x="7" y="0"/>
                  </a:cubicBezTo>
                  <a:cubicBezTo>
                    <a:pt x="3" y="0"/>
                    <a:pt x="0" y="3"/>
                    <a:pt x="0" y="7"/>
                  </a:cubicBezTo>
                  <a:cubicBezTo>
                    <a:pt x="0" y="9"/>
                    <a:pt x="0" y="11"/>
                    <a:pt x="2" y="12"/>
                  </a:cubicBezTo>
                  <a:cubicBezTo>
                    <a:pt x="3" y="11"/>
                    <a:pt x="5" y="11"/>
                    <a:pt x="7" y="11"/>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11"/>
            <p:cNvSpPr>
              <a:spLocks/>
            </p:cNvSpPr>
            <p:nvPr userDrawn="1"/>
          </p:nvSpPr>
          <p:spPr bwMode="auto">
            <a:xfrm>
              <a:off x="8994573" y="3260529"/>
              <a:ext cx="38614" cy="34754"/>
            </a:xfrm>
            <a:custGeom>
              <a:avLst/>
              <a:gdLst>
                <a:gd name="T0" fmla="*/ 8 w 15"/>
                <a:gd name="T1" fmla="*/ 11 h 12"/>
                <a:gd name="T2" fmla="*/ 13 w 15"/>
                <a:gd name="T3" fmla="*/ 12 h 12"/>
                <a:gd name="T4" fmla="*/ 15 w 15"/>
                <a:gd name="T5" fmla="*/ 7 h 12"/>
                <a:gd name="T6" fmla="*/ 8 w 15"/>
                <a:gd name="T7" fmla="*/ 0 h 12"/>
                <a:gd name="T8" fmla="*/ 0 w 15"/>
                <a:gd name="T9" fmla="*/ 7 h 12"/>
                <a:gd name="T10" fmla="*/ 2 w 15"/>
                <a:gd name="T11" fmla="*/ 12 h 12"/>
                <a:gd name="T12" fmla="*/ 8 w 15"/>
                <a:gd name="T13" fmla="*/ 11 h 12"/>
              </a:gdLst>
              <a:ahLst/>
              <a:cxnLst>
                <a:cxn ang="0">
                  <a:pos x="T0" y="T1"/>
                </a:cxn>
                <a:cxn ang="0">
                  <a:pos x="T2" y="T3"/>
                </a:cxn>
                <a:cxn ang="0">
                  <a:pos x="T4" y="T5"/>
                </a:cxn>
                <a:cxn ang="0">
                  <a:pos x="T6" y="T7"/>
                </a:cxn>
                <a:cxn ang="0">
                  <a:pos x="T8" y="T9"/>
                </a:cxn>
                <a:cxn ang="0">
                  <a:pos x="T10" y="T11"/>
                </a:cxn>
                <a:cxn ang="0">
                  <a:pos x="T12" y="T13"/>
                </a:cxn>
              </a:cxnLst>
              <a:rect l="0" t="0" r="r" b="b"/>
              <a:pathLst>
                <a:path w="15" h="12">
                  <a:moveTo>
                    <a:pt x="8" y="11"/>
                  </a:moveTo>
                  <a:cubicBezTo>
                    <a:pt x="10" y="11"/>
                    <a:pt x="12" y="11"/>
                    <a:pt x="13" y="12"/>
                  </a:cubicBezTo>
                  <a:cubicBezTo>
                    <a:pt x="14" y="11"/>
                    <a:pt x="15" y="9"/>
                    <a:pt x="15" y="7"/>
                  </a:cubicBezTo>
                  <a:cubicBezTo>
                    <a:pt x="15" y="3"/>
                    <a:pt x="12" y="0"/>
                    <a:pt x="8" y="0"/>
                  </a:cubicBezTo>
                  <a:cubicBezTo>
                    <a:pt x="4" y="0"/>
                    <a:pt x="0" y="3"/>
                    <a:pt x="0" y="7"/>
                  </a:cubicBezTo>
                  <a:cubicBezTo>
                    <a:pt x="0" y="9"/>
                    <a:pt x="1" y="11"/>
                    <a:pt x="2" y="12"/>
                  </a:cubicBezTo>
                  <a:cubicBezTo>
                    <a:pt x="4" y="11"/>
                    <a:pt x="6" y="11"/>
                    <a:pt x="8" y="11"/>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12"/>
            <p:cNvSpPr>
              <a:spLocks/>
            </p:cNvSpPr>
            <p:nvPr userDrawn="1"/>
          </p:nvSpPr>
          <p:spPr bwMode="auto">
            <a:xfrm>
              <a:off x="8766748" y="3094489"/>
              <a:ext cx="250994" cy="150597"/>
            </a:xfrm>
            <a:custGeom>
              <a:avLst/>
              <a:gdLst>
                <a:gd name="T0" fmla="*/ 4 w 94"/>
                <a:gd name="T1" fmla="*/ 32 h 56"/>
                <a:gd name="T2" fmla="*/ 4 w 94"/>
                <a:gd name="T3" fmla="*/ 56 h 56"/>
                <a:gd name="T4" fmla="*/ 94 w 94"/>
                <a:gd name="T5" fmla="*/ 0 h 56"/>
                <a:gd name="T6" fmla="*/ 0 w 94"/>
                <a:gd name="T7" fmla="*/ 12 h 56"/>
              </a:gdLst>
              <a:ahLst/>
              <a:cxnLst>
                <a:cxn ang="0">
                  <a:pos x="T0" y="T1"/>
                </a:cxn>
                <a:cxn ang="0">
                  <a:pos x="T2" y="T3"/>
                </a:cxn>
                <a:cxn ang="0">
                  <a:pos x="T4" y="T5"/>
                </a:cxn>
                <a:cxn ang="0">
                  <a:pos x="T6" y="T7"/>
                </a:cxn>
              </a:cxnLst>
              <a:rect l="0" t="0" r="r" b="b"/>
              <a:pathLst>
                <a:path w="94" h="56">
                  <a:moveTo>
                    <a:pt x="4" y="32"/>
                  </a:moveTo>
                  <a:cubicBezTo>
                    <a:pt x="4" y="56"/>
                    <a:pt x="4" y="56"/>
                    <a:pt x="4" y="56"/>
                  </a:cubicBezTo>
                  <a:cubicBezTo>
                    <a:pt x="4" y="56"/>
                    <a:pt x="87" y="54"/>
                    <a:pt x="94" y="0"/>
                  </a:cubicBezTo>
                  <a:cubicBezTo>
                    <a:pt x="0" y="9"/>
                    <a:pt x="0" y="12"/>
                    <a:pt x="0" y="12"/>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13"/>
            <p:cNvSpPr>
              <a:spLocks/>
            </p:cNvSpPr>
            <p:nvPr userDrawn="1"/>
          </p:nvSpPr>
          <p:spPr bwMode="auto">
            <a:xfrm>
              <a:off x="9002296" y="3086767"/>
              <a:ext cx="139011" cy="135151"/>
            </a:xfrm>
            <a:custGeom>
              <a:avLst/>
              <a:gdLst>
                <a:gd name="T0" fmla="*/ 51 w 51"/>
                <a:gd name="T1" fmla="*/ 38 h 50"/>
                <a:gd name="T2" fmla="*/ 51 w 51"/>
                <a:gd name="T3" fmla="*/ 50 h 50"/>
                <a:gd name="T4" fmla="*/ 0 w 51"/>
                <a:gd name="T5" fmla="*/ 22 h 50"/>
                <a:gd name="T6" fmla="*/ 45 w 51"/>
                <a:gd name="T7" fmla="*/ 0 h 50"/>
              </a:gdLst>
              <a:ahLst/>
              <a:cxnLst>
                <a:cxn ang="0">
                  <a:pos x="T0" y="T1"/>
                </a:cxn>
                <a:cxn ang="0">
                  <a:pos x="T2" y="T3"/>
                </a:cxn>
                <a:cxn ang="0">
                  <a:pos x="T4" y="T5"/>
                </a:cxn>
                <a:cxn ang="0">
                  <a:pos x="T6" y="T7"/>
                </a:cxn>
              </a:cxnLst>
              <a:rect l="0" t="0" r="r" b="b"/>
              <a:pathLst>
                <a:path w="51" h="50">
                  <a:moveTo>
                    <a:pt x="51" y="38"/>
                  </a:moveTo>
                  <a:cubicBezTo>
                    <a:pt x="51" y="50"/>
                    <a:pt x="51" y="50"/>
                    <a:pt x="51" y="50"/>
                  </a:cubicBezTo>
                  <a:cubicBezTo>
                    <a:pt x="51" y="50"/>
                    <a:pt x="3" y="50"/>
                    <a:pt x="0" y="22"/>
                  </a:cubicBezTo>
                  <a:cubicBezTo>
                    <a:pt x="23" y="8"/>
                    <a:pt x="45" y="0"/>
                    <a:pt x="45" y="0"/>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14"/>
            <p:cNvSpPr>
              <a:spLocks/>
            </p:cNvSpPr>
            <p:nvPr userDrawn="1"/>
          </p:nvSpPr>
          <p:spPr bwMode="auto">
            <a:xfrm>
              <a:off x="8894176" y="3368649"/>
              <a:ext cx="123565" cy="38614"/>
            </a:xfrm>
            <a:custGeom>
              <a:avLst/>
              <a:gdLst>
                <a:gd name="T0" fmla="*/ 0 w 45"/>
                <a:gd name="T1" fmla="*/ 0 h 15"/>
                <a:gd name="T2" fmla="*/ 23 w 45"/>
                <a:gd name="T3" fmla="*/ 15 h 15"/>
                <a:gd name="T4" fmla="*/ 45 w 45"/>
                <a:gd name="T5" fmla="*/ 0 h 15"/>
                <a:gd name="T6" fmla="*/ 0 w 45"/>
                <a:gd name="T7" fmla="*/ 0 h 15"/>
              </a:gdLst>
              <a:ahLst/>
              <a:cxnLst>
                <a:cxn ang="0">
                  <a:pos x="T0" y="T1"/>
                </a:cxn>
                <a:cxn ang="0">
                  <a:pos x="T2" y="T3"/>
                </a:cxn>
                <a:cxn ang="0">
                  <a:pos x="T4" y="T5"/>
                </a:cxn>
                <a:cxn ang="0">
                  <a:pos x="T6" y="T7"/>
                </a:cxn>
              </a:cxnLst>
              <a:rect l="0" t="0" r="r" b="b"/>
              <a:pathLst>
                <a:path w="45" h="15">
                  <a:moveTo>
                    <a:pt x="0" y="0"/>
                  </a:moveTo>
                  <a:cubicBezTo>
                    <a:pt x="0" y="0"/>
                    <a:pt x="5" y="15"/>
                    <a:pt x="23" y="15"/>
                  </a:cubicBezTo>
                  <a:cubicBezTo>
                    <a:pt x="40" y="15"/>
                    <a:pt x="45" y="0"/>
                    <a:pt x="45"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15"/>
            <p:cNvSpPr>
              <a:spLocks/>
            </p:cNvSpPr>
            <p:nvPr userDrawn="1"/>
          </p:nvSpPr>
          <p:spPr bwMode="auto">
            <a:xfrm>
              <a:off x="8901899" y="3368649"/>
              <a:ext cx="104260" cy="30891"/>
            </a:xfrm>
            <a:custGeom>
              <a:avLst/>
              <a:gdLst>
                <a:gd name="T0" fmla="*/ 0 w 39"/>
                <a:gd name="T1" fmla="*/ 0 h 12"/>
                <a:gd name="T2" fmla="*/ 20 w 39"/>
                <a:gd name="T3" fmla="*/ 12 h 12"/>
                <a:gd name="T4" fmla="*/ 39 w 39"/>
                <a:gd name="T5" fmla="*/ 0 h 12"/>
                <a:gd name="T6" fmla="*/ 0 w 39"/>
                <a:gd name="T7" fmla="*/ 0 h 12"/>
              </a:gdLst>
              <a:ahLst/>
              <a:cxnLst>
                <a:cxn ang="0">
                  <a:pos x="T0" y="T1"/>
                </a:cxn>
                <a:cxn ang="0">
                  <a:pos x="T2" y="T3"/>
                </a:cxn>
                <a:cxn ang="0">
                  <a:pos x="T4" y="T5"/>
                </a:cxn>
                <a:cxn ang="0">
                  <a:pos x="T6" y="T7"/>
                </a:cxn>
              </a:cxnLst>
              <a:rect l="0" t="0" r="r" b="b"/>
              <a:pathLst>
                <a:path w="39" h="12">
                  <a:moveTo>
                    <a:pt x="0" y="0"/>
                  </a:moveTo>
                  <a:cubicBezTo>
                    <a:pt x="4" y="7"/>
                    <a:pt x="11" y="12"/>
                    <a:pt x="20" y="12"/>
                  </a:cubicBezTo>
                  <a:cubicBezTo>
                    <a:pt x="28" y="12"/>
                    <a:pt x="35" y="7"/>
                    <a:pt x="39"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16"/>
            <p:cNvSpPr>
              <a:spLocks/>
            </p:cNvSpPr>
            <p:nvPr userDrawn="1"/>
          </p:nvSpPr>
          <p:spPr bwMode="auto">
            <a:xfrm>
              <a:off x="8928928" y="3260529"/>
              <a:ext cx="23169" cy="69506"/>
            </a:xfrm>
            <a:custGeom>
              <a:avLst/>
              <a:gdLst>
                <a:gd name="T0" fmla="*/ 8 w 8"/>
                <a:gd name="T1" fmla="*/ 0 h 26"/>
                <a:gd name="T2" fmla="*/ 3 w 8"/>
                <a:gd name="T3" fmla="*/ 5 h 26"/>
                <a:gd name="T4" fmla="*/ 0 w 8"/>
                <a:gd name="T5" fmla="*/ 26 h 26"/>
                <a:gd name="T6" fmla="*/ 8 w 8"/>
                <a:gd name="T7" fmla="*/ 26 h 26"/>
                <a:gd name="T8" fmla="*/ 8 w 8"/>
                <a:gd name="T9" fmla="*/ 0 h 26"/>
                <a:gd name="T10" fmla="*/ 8 w 8"/>
                <a:gd name="T11" fmla="*/ 0 h 26"/>
              </a:gdLst>
              <a:ahLst/>
              <a:cxnLst>
                <a:cxn ang="0">
                  <a:pos x="T0" y="T1"/>
                </a:cxn>
                <a:cxn ang="0">
                  <a:pos x="T2" y="T3"/>
                </a:cxn>
                <a:cxn ang="0">
                  <a:pos x="T4" y="T5"/>
                </a:cxn>
                <a:cxn ang="0">
                  <a:pos x="T6" y="T7"/>
                </a:cxn>
                <a:cxn ang="0">
                  <a:pos x="T8" y="T9"/>
                </a:cxn>
                <a:cxn ang="0">
                  <a:pos x="T10" y="T11"/>
                </a:cxn>
              </a:cxnLst>
              <a:rect l="0" t="0" r="r" b="b"/>
              <a:pathLst>
                <a:path w="8" h="26">
                  <a:moveTo>
                    <a:pt x="8" y="0"/>
                  </a:moveTo>
                  <a:cubicBezTo>
                    <a:pt x="6" y="0"/>
                    <a:pt x="3" y="2"/>
                    <a:pt x="3" y="5"/>
                  </a:cubicBezTo>
                  <a:cubicBezTo>
                    <a:pt x="0" y="26"/>
                    <a:pt x="0" y="26"/>
                    <a:pt x="0" y="26"/>
                  </a:cubicBezTo>
                  <a:cubicBezTo>
                    <a:pt x="8" y="26"/>
                    <a:pt x="8" y="26"/>
                    <a:pt x="8" y="26"/>
                  </a:cubicBezTo>
                  <a:cubicBezTo>
                    <a:pt x="8" y="0"/>
                    <a:pt x="8" y="0"/>
                    <a:pt x="8" y="0"/>
                  </a:cubicBezTo>
                  <a:cubicBezTo>
                    <a:pt x="8" y="0"/>
                    <a:pt x="8" y="0"/>
                    <a:pt x="8" y="0"/>
                  </a:cubicBezTo>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17"/>
            <p:cNvSpPr>
              <a:spLocks/>
            </p:cNvSpPr>
            <p:nvPr userDrawn="1"/>
          </p:nvSpPr>
          <p:spPr bwMode="auto">
            <a:xfrm>
              <a:off x="8944373" y="3523106"/>
              <a:ext cx="308914" cy="675750"/>
            </a:xfrm>
            <a:custGeom>
              <a:avLst/>
              <a:gdLst>
                <a:gd name="T0" fmla="*/ 20 w 115"/>
                <a:gd name="T1" fmla="*/ 0 h 251"/>
                <a:gd name="T2" fmla="*/ 12 w 115"/>
                <a:gd name="T3" fmla="*/ 0 h 251"/>
                <a:gd name="T4" fmla="*/ 107 w 115"/>
                <a:gd name="T5" fmla="*/ 48 h 251"/>
                <a:gd name="T6" fmla="*/ 77 w 115"/>
                <a:gd name="T7" fmla="*/ 97 h 251"/>
                <a:gd name="T8" fmla="*/ 38 w 115"/>
                <a:gd name="T9" fmla="*/ 237 h 251"/>
                <a:gd name="T10" fmla="*/ 0 w 115"/>
                <a:gd name="T11" fmla="*/ 251 h 251"/>
                <a:gd name="T12" fmla="*/ 4 w 115"/>
                <a:gd name="T13" fmla="*/ 251 h 251"/>
                <a:gd name="T14" fmla="*/ 49 w 115"/>
                <a:gd name="T15" fmla="*/ 237 h 251"/>
                <a:gd name="T16" fmla="*/ 85 w 115"/>
                <a:gd name="T17" fmla="*/ 97 h 251"/>
                <a:gd name="T18" fmla="*/ 115 w 115"/>
                <a:gd name="T19" fmla="*/ 48 h 251"/>
                <a:gd name="T20" fmla="*/ 20 w 115"/>
                <a:gd name="T21"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5" h="251">
                  <a:moveTo>
                    <a:pt x="20" y="0"/>
                  </a:moveTo>
                  <a:cubicBezTo>
                    <a:pt x="17" y="0"/>
                    <a:pt x="14" y="0"/>
                    <a:pt x="12" y="0"/>
                  </a:cubicBezTo>
                  <a:cubicBezTo>
                    <a:pt x="80" y="0"/>
                    <a:pt x="107" y="48"/>
                    <a:pt x="107" y="48"/>
                  </a:cubicBezTo>
                  <a:cubicBezTo>
                    <a:pt x="77" y="97"/>
                    <a:pt x="77" y="97"/>
                    <a:pt x="77" y="97"/>
                  </a:cubicBezTo>
                  <a:cubicBezTo>
                    <a:pt x="38" y="237"/>
                    <a:pt x="38" y="237"/>
                    <a:pt x="38" y="237"/>
                  </a:cubicBezTo>
                  <a:cubicBezTo>
                    <a:pt x="38" y="237"/>
                    <a:pt x="27" y="250"/>
                    <a:pt x="0" y="251"/>
                  </a:cubicBezTo>
                  <a:cubicBezTo>
                    <a:pt x="1" y="251"/>
                    <a:pt x="3" y="251"/>
                    <a:pt x="4" y="251"/>
                  </a:cubicBezTo>
                  <a:cubicBezTo>
                    <a:pt x="33" y="251"/>
                    <a:pt x="49" y="237"/>
                    <a:pt x="49" y="237"/>
                  </a:cubicBezTo>
                  <a:cubicBezTo>
                    <a:pt x="85" y="97"/>
                    <a:pt x="85" y="97"/>
                    <a:pt x="85" y="97"/>
                  </a:cubicBezTo>
                  <a:cubicBezTo>
                    <a:pt x="115" y="48"/>
                    <a:pt x="115" y="48"/>
                    <a:pt x="115" y="48"/>
                  </a:cubicBezTo>
                  <a:cubicBezTo>
                    <a:pt x="115" y="48"/>
                    <a:pt x="88" y="0"/>
                    <a:pt x="20" y="0"/>
                  </a:cubicBez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 name="Title 1"/>
          <p:cNvSpPr>
            <a:spLocks noGrp="1"/>
          </p:cNvSpPr>
          <p:nvPr>
            <p:ph type="title" hasCustomPrompt="1"/>
          </p:nvPr>
        </p:nvSpPr>
        <p:spPr>
          <a:xfrm>
            <a:off x="381294" y="917254"/>
            <a:ext cx="5714707" cy="5023491"/>
          </a:xfrm>
        </p:spPr>
        <p:txBody>
          <a:bodyPr wrap="square" anchor="ctr"/>
          <a:lstStyle>
            <a:lvl1pPr>
              <a:defRPr sz="5294">
                <a:gradFill>
                  <a:gsLst>
                    <a:gs pos="2917">
                      <a:schemeClr val="bg1"/>
                    </a:gs>
                    <a:gs pos="100000">
                      <a:schemeClr val="bg1"/>
                    </a:gs>
                  </a:gsLst>
                  <a:lin ang="5400000" scaled="0"/>
                </a:gradFill>
                <a:latin typeface="Segoe UI Semilight" panose="020B0402040204020203" pitchFamily="34" charset="0"/>
                <a:cs typeface="Segoe UI Semilight" panose="020B0402040204020203" pitchFamily="34" charset="0"/>
              </a:defRPr>
            </a:lvl1pPr>
          </a:lstStyle>
          <a:p>
            <a:r>
              <a:rPr lang="en-US" dirty="0"/>
              <a:t>Click to add section divider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67807" y="6116477"/>
            <a:ext cx="1358520" cy="515207"/>
          </a:xfrm>
          <a:prstGeom prst="rect">
            <a:avLst/>
          </a:prstGeom>
        </p:spPr>
      </p:pic>
    </p:spTree>
    <p:extLst>
      <p:ext uri="{BB962C8B-B14F-4D97-AF65-F5344CB8AC3E}">
        <p14:creationId xmlns:p14="http://schemas.microsoft.com/office/powerpoint/2010/main" val="234729937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een Section Lifestyle">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2" name="Title 1"/>
          <p:cNvSpPr>
            <a:spLocks noGrp="1"/>
          </p:cNvSpPr>
          <p:nvPr>
            <p:ph type="title" hasCustomPrompt="1"/>
          </p:nvPr>
        </p:nvSpPr>
        <p:spPr>
          <a:xfrm>
            <a:off x="381293" y="917254"/>
            <a:ext cx="5378549" cy="5023491"/>
          </a:xfrm>
        </p:spPr>
        <p:txBody>
          <a:bodyPr wrap="square" anchor="ctr"/>
          <a:lstStyle>
            <a:lvl1pPr>
              <a:defRPr sz="5294">
                <a:gradFill>
                  <a:gsLst>
                    <a:gs pos="2917">
                      <a:schemeClr val="bg1"/>
                    </a:gs>
                    <a:gs pos="100000">
                      <a:schemeClr val="bg1">
                        <a:alpha val="99000"/>
                      </a:schemeClr>
                    </a:gs>
                  </a:gsLst>
                  <a:lin ang="5400000" scaled="0"/>
                </a:gradFill>
                <a:latin typeface="Segoe UI Semilight" panose="020B0402040204020203" pitchFamily="34" charset="0"/>
                <a:cs typeface="Segoe UI Semilight" panose="020B0402040204020203" pitchFamily="34" charset="0"/>
              </a:defRPr>
            </a:lvl1pPr>
          </a:lstStyle>
          <a:p>
            <a:r>
              <a:rPr lang="en-US" dirty="0"/>
              <a:t>Click to add section divider title</a:t>
            </a:r>
          </a:p>
        </p:txBody>
      </p:sp>
      <p:sp>
        <p:nvSpPr>
          <p:cNvPr id="8" name="Rectangle 6"/>
          <p:cNvSpPr>
            <a:spLocks noChangeArrowheads="1"/>
          </p:cNvSpPr>
          <p:nvPr userDrawn="1"/>
        </p:nvSpPr>
        <p:spPr bwMode="auto">
          <a:xfrm>
            <a:off x="6201830" y="1666092"/>
            <a:ext cx="5607324" cy="3256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6" name="Picture Placeholder 3"/>
          <p:cNvSpPr>
            <a:spLocks noGrp="1"/>
          </p:cNvSpPr>
          <p:nvPr>
            <p:ph type="pic" sz="quarter" idx="10"/>
          </p:nvPr>
        </p:nvSpPr>
        <p:spPr>
          <a:xfrm>
            <a:off x="6096001" y="0"/>
            <a:ext cx="6096000" cy="6858000"/>
          </a:xfrm>
          <a:blipFill>
            <a:blip r:embed="rId2"/>
            <a:stretch>
              <a:fillRect/>
            </a:stretch>
          </a:blipFill>
        </p:spPr>
        <p:txBody>
          <a:bodyPr anchor="ctr"/>
          <a:lstStyle>
            <a:lvl1pPr algn="ctr">
              <a:defRPr>
                <a:solidFill>
                  <a:schemeClr val="bg1">
                    <a:alpha val="0"/>
                  </a:schemeClr>
                </a:solidFill>
              </a:defRPr>
            </a:lvl1pPr>
          </a:lstStyle>
          <a:p>
            <a:endParaRPr lang="en-US"/>
          </a:p>
        </p:txBody>
      </p:sp>
    </p:spTree>
    <p:extLst>
      <p:ext uri="{BB962C8B-B14F-4D97-AF65-F5344CB8AC3E}">
        <p14:creationId xmlns:p14="http://schemas.microsoft.com/office/powerpoint/2010/main" val="298882210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een Section Divider">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2" name="Title 1"/>
          <p:cNvSpPr>
            <a:spLocks noGrp="1"/>
          </p:cNvSpPr>
          <p:nvPr>
            <p:ph type="title" hasCustomPrompt="1"/>
          </p:nvPr>
        </p:nvSpPr>
        <p:spPr>
          <a:xfrm>
            <a:off x="381294" y="917254"/>
            <a:ext cx="5714707" cy="5023491"/>
          </a:xfrm>
        </p:spPr>
        <p:txBody>
          <a:bodyPr wrap="square" anchor="ctr"/>
          <a:lstStyle>
            <a:lvl1pPr>
              <a:defRPr sz="5294">
                <a:gradFill>
                  <a:gsLst>
                    <a:gs pos="2917">
                      <a:schemeClr val="bg1"/>
                    </a:gs>
                    <a:gs pos="100000">
                      <a:schemeClr val="bg1">
                        <a:alpha val="99000"/>
                      </a:schemeClr>
                    </a:gs>
                  </a:gsLst>
                  <a:lin ang="5400000" scaled="0"/>
                </a:gradFill>
                <a:latin typeface="Segoe UI Semilight" panose="020B0402040204020203" pitchFamily="34" charset="0"/>
                <a:cs typeface="Segoe UI Semilight" panose="020B0402040204020203" pitchFamily="34" charset="0"/>
              </a:defRPr>
            </a:lvl1pPr>
          </a:lstStyle>
          <a:p>
            <a:r>
              <a:rPr lang="en-US" dirty="0"/>
              <a:t>Click to add section divider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67807" y="6116477"/>
            <a:ext cx="1358520" cy="515207"/>
          </a:xfrm>
          <a:prstGeom prst="rect">
            <a:avLst/>
          </a:prstGeom>
        </p:spPr>
      </p:pic>
      <p:sp>
        <p:nvSpPr>
          <p:cNvPr id="8" name="Rectangle 6"/>
          <p:cNvSpPr>
            <a:spLocks noChangeArrowheads="1"/>
          </p:cNvSpPr>
          <p:nvPr userDrawn="1"/>
        </p:nvSpPr>
        <p:spPr bwMode="auto">
          <a:xfrm>
            <a:off x="6201830" y="1666092"/>
            <a:ext cx="5607324" cy="3256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nvGrpSpPr>
          <p:cNvPr id="205" name="Group 204"/>
          <p:cNvGrpSpPr/>
          <p:nvPr userDrawn="1"/>
        </p:nvGrpSpPr>
        <p:grpSpPr>
          <a:xfrm>
            <a:off x="6942313" y="1907575"/>
            <a:ext cx="4126358" cy="3053436"/>
            <a:chOff x="7754939" y="2443798"/>
            <a:chExt cx="2862263" cy="2117725"/>
          </a:xfrm>
        </p:grpSpPr>
        <p:sp>
          <p:nvSpPr>
            <p:cNvPr id="11" name="Rectangle 7"/>
            <p:cNvSpPr>
              <a:spLocks noChangeArrowheads="1"/>
            </p:cNvSpPr>
            <p:nvPr userDrawn="1"/>
          </p:nvSpPr>
          <p:spPr bwMode="auto">
            <a:xfrm>
              <a:off x="9567864" y="2512060"/>
              <a:ext cx="436563" cy="4381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Rectangle 8"/>
            <p:cNvSpPr>
              <a:spLocks noChangeArrowheads="1"/>
            </p:cNvSpPr>
            <p:nvPr userDrawn="1"/>
          </p:nvSpPr>
          <p:spPr bwMode="auto">
            <a:xfrm>
              <a:off x="9567864" y="2512060"/>
              <a:ext cx="436563" cy="36513"/>
            </a:xfrm>
            <a:prstGeom prst="rect">
              <a:avLst/>
            </a:prstGeom>
            <a:solidFill>
              <a:srgbClr val="D6D6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Rectangle 9"/>
            <p:cNvSpPr>
              <a:spLocks noChangeArrowheads="1"/>
            </p:cNvSpPr>
            <p:nvPr userDrawn="1"/>
          </p:nvSpPr>
          <p:spPr bwMode="auto">
            <a:xfrm>
              <a:off x="9607552" y="2605723"/>
              <a:ext cx="358775" cy="82550"/>
            </a:xfrm>
            <a:prstGeom prst="rect">
              <a:avLst/>
            </a:prstGeom>
            <a:solidFill>
              <a:srgbClr val="40C5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Rectangle 10"/>
            <p:cNvSpPr>
              <a:spLocks noChangeArrowheads="1"/>
            </p:cNvSpPr>
            <p:nvPr userDrawn="1"/>
          </p:nvSpPr>
          <p:spPr bwMode="auto">
            <a:xfrm>
              <a:off x="9661527" y="2713673"/>
              <a:ext cx="304800" cy="82550"/>
            </a:xfrm>
            <a:prstGeom prst="rect">
              <a:avLst/>
            </a:prstGeom>
            <a:solidFill>
              <a:srgbClr val="5C2D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Rectangle 11"/>
            <p:cNvSpPr>
              <a:spLocks noChangeArrowheads="1"/>
            </p:cNvSpPr>
            <p:nvPr userDrawn="1"/>
          </p:nvSpPr>
          <p:spPr bwMode="auto">
            <a:xfrm>
              <a:off x="9607552" y="2823210"/>
              <a:ext cx="358775" cy="809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Rectangle 12"/>
            <p:cNvSpPr>
              <a:spLocks noChangeArrowheads="1"/>
            </p:cNvSpPr>
            <p:nvPr userDrawn="1"/>
          </p:nvSpPr>
          <p:spPr bwMode="auto">
            <a:xfrm>
              <a:off x="9642477" y="2640648"/>
              <a:ext cx="287338" cy="11113"/>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13"/>
            <p:cNvSpPr>
              <a:spLocks/>
            </p:cNvSpPr>
            <p:nvPr userDrawn="1"/>
          </p:nvSpPr>
          <p:spPr bwMode="auto">
            <a:xfrm>
              <a:off x="9642477" y="2640648"/>
              <a:ext cx="287338" cy="11113"/>
            </a:xfrm>
            <a:custGeom>
              <a:avLst/>
              <a:gdLst>
                <a:gd name="T0" fmla="*/ 0 w 181"/>
                <a:gd name="T1" fmla="*/ 7 h 7"/>
                <a:gd name="T2" fmla="*/ 181 w 181"/>
                <a:gd name="T3" fmla="*/ 7 h 7"/>
                <a:gd name="T4" fmla="*/ 181 w 181"/>
                <a:gd name="T5" fmla="*/ 0 h 7"/>
                <a:gd name="T6" fmla="*/ 0 w 181"/>
                <a:gd name="T7" fmla="*/ 0 h 7"/>
              </a:gdLst>
              <a:ahLst/>
              <a:cxnLst>
                <a:cxn ang="0">
                  <a:pos x="T0" y="T1"/>
                </a:cxn>
                <a:cxn ang="0">
                  <a:pos x="T2" y="T3"/>
                </a:cxn>
                <a:cxn ang="0">
                  <a:pos x="T4" y="T5"/>
                </a:cxn>
                <a:cxn ang="0">
                  <a:pos x="T6" y="T7"/>
                </a:cxn>
              </a:cxnLst>
              <a:rect l="0" t="0" r="r" b="b"/>
              <a:pathLst>
                <a:path w="181" h="7">
                  <a:moveTo>
                    <a:pt x="0" y="7"/>
                  </a:moveTo>
                  <a:lnTo>
                    <a:pt x="181" y="7"/>
                  </a:lnTo>
                  <a:lnTo>
                    <a:pt x="18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14"/>
            <p:cNvSpPr>
              <a:spLocks noChangeArrowheads="1"/>
            </p:cNvSpPr>
            <p:nvPr userDrawn="1"/>
          </p:nvSpPr>
          <p:spPr bwMode="auto">
            <a:xfrm>
              <a:off x="9696452" y="2748598"/>
              <a:ext cx="233363" cy="12700"/>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Freeform 15"/>
            <p:cNvSpPr>
              <a:spLocks/>
            </p:cNvSpPr>
            <p:nvPr userDrawn="1"/>
          </p:nvSpPr>
          <p:spPr bwMode="auto">
            <a:xfrm>
              <a:off x="9696452" y="2748598"/>
              <a:ext cx="233363" cy="12700"/>
            </a:xfrm>
            <a:custGeom>
              <a:avLst/>
              <a:gdLst>
                <a:gd name="T0" fmla="*/ 0 w 147"/>
                <a:gd name="T1" fmla="*/ 8 h 8"/>
                <a:gd name="T2" fmla="*/ 147 w 147"/>
                <a:gd name="T3" fmla="*/ 8 h 8"/>
                <a:gd name="T4" fmla="*/ 147 w 147"/>
                <a:gd name="T5" fmla="*/ 0 h 8"/>
                <a:gd name="T6" fmla="*/ 0 w 147"/>
                <a:gd name="T7" fmla="*/ 0 h 8"/>
              </a:gdLst>
              <a:ahLst/>
              <a:cxnLst>
                <a:cxn ang="0">
                  <a:pos x="T0" y="T1"/>
                </a:cxn>
                <a:cxn ang="0">
                  <a:pos x="T2" y="T3"/>
                </a:cxn>
                <a:cxn ang="0">
                  <a:pos x="T4" y="T5"/>
                </a:cxn>
                <a:cxn ang="0">
                  <a:pos x="T6" y="T7"/>
                </a:cxn>
              </a:cxnLst>
              <a:rect l="0" t="0" r="r" b="b"/>
              <a:pathLst>
                <a:path w="147" h="8">
                  <a:moveTo>
                    <a:pt x="0" y="8"/>
                  </a:moveTo>
                  <a:lnTo>
                    <a:pt x="147" y="8"/>
                  </a:lnTo>
                  <a:lnTo>
                    <a:pt x="14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Rectangle 16"/>
            <p:cNvSpPr>
              <a:spLocks noChangeArrowheads="1"/>
            </p:cNvSpPr>
            <p:nvPr userDrawn="1"/>
          </p:nvSpPr>
          <p:spPr bwMode="auto">
            <a:xfrm>
              <a:off x="9642477" y="2858135"/>
              <a:ext cx="287338" cy="11113"/>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7"/>
            <p:cNvSpPr>
              <a:spLocks/>
            </p:cNvSpPr>
            <p:nvPr userDrawn="1"/>
          </p:nvSpPr>
          <p:spPr bwMode="auto">
            <a:xfrm>
              <a:off x="9642477" y="2858135"/>
              <a:ext cx="287338" cy="11113"/>
            </a:xfrm>
            <a:custGeom>
              <a:avLst/>
              <a:gdLst>
                <a:gd name="T0" fmla="*/ 0 w 181"/>
                <a:gd name="T1" fmla="*/ 7 h 7"/>
                <a:gd name="T2" fmla="*/ 181 w 181"/>
                <a:gd name="T3" fmla="*/ 7 h 7"/>
                <a:gd name="T4" fmla="*/ 181 w 181"/>
                <a:gd name="T5" fmla="*/ 0 h 7"/>
                <a:gd name="T6" fmla="*/ 0 w 181"/>
                <a:gd name="T7" fmla="*/ 0 h 7"/>
              </a:gdLst>
              <a:ahLst/>
              <a:cxnLst>
                <a:cxn ang="0">
                  <a:pos x="T0" y="T1"/>
                </a:cxn>
                <a:cxn ang="0">
                  <a:pos x="T2" y="T3"/>
                </a:cxn>
                <a:cxn ang="0">
                  <a:pos x="T4" y="T5"/>
                </a:cxn>
                <a:cxn ang="0">
                  <a:pos x="T6" y="T7"/>
                </a:cxn>
              </a:cxnLst>
              <a:rect l="0" t="0" r="r" b="b"/>
              <a:pathLst>
                <a:path w="181" h="7">
                  <a:moveTo>
                    <a:pt x="0" y="7"/>
                  </a:moveTo>
                  <a:lnTo>
                    <a:pt x="181" y="7"/>
                  </a:lnTo>
                  <a:lnTo>
                    <a:pt x="18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18"/>
            <p:cNvSpPr>
              <a:spLocks/>
            </p:cNvSpPr>
            <p:nvPr userDrawn="1"/>
          </p:nvSpPr>
          <p:spPr bwMode="auto">
            <a:xfrm>
              <a:off x="9975852" y="2523173"/>
              <a:ext cx="14288" cy="14288"/>
            </a:xfrm>
            <a:custGeom>
              <a:avLst/>
              <a:gdLst>
                <a:gd name="T0" fmla="*/ 1 w 9"/>
                <a:gd name="T1" fmla="*/ 9 h 9"/>
                <a:gd name="T2" fmla="*/ 0 w 9"/>
                <a:gd name="T3" fmla="*/ 7 h 9"/>
                <a:gd name="T4" fmla="*/ 8 w 9"/>
                <a:gd name="T5" fmla="*/ 0 h 9"/>
                <a:gd name="T6" fmla="*/ 9 w 9"/>
                <a:gd name="T7" fmla="*/ 2 h 9"/>
                <a:gd name="T8" fmla="*/ 1 w 9"/>
                <a:gd name="T9" fmla="*/ 9 h 9"/>
              </a:gdLst>
              <a:ahLst/>
              <a:cxnLst>
                <a:cxn ang="0">
                  <a:pos x="T0" y="T1"/>
                </a:cxn>
                <a:cxn ang="0">
                  <a:pos x="T2" y="T3"/>
                </a:cxn>
                <a:cxn ang="0">
                  <a:pos x="T4" y="T5"/>
                </a:cxn>
                <a:cxn ang="0">
                  <a:pos x="T6" y="T7"/>
                </a:cxn>
                <a:cxn ang="0">
                  <a:pos x="T8" y="T9"/>
                </a:cxn>
              </a:cxnLst>
              <a:rect l="0" t="0" r="r" b="b"/>
              <a:pathLst>
                <a:path w="9" h="9">
                  <a:moveTo>
                    <a:pt x="1" y="9"/>
                  </a:moveTo>
                  <a:lnTo>
                    <a:pt x="0" y="7"/>
                  </a:lnTo>
                  <a:lnTo>
                    <a:pt x="8" y="0"/>
                  </a:lnTo>
                  <a:lnTo>
                    <a:pt x="9" y="2"/>
                  </a:lnTo>
                  <a:lnTo>
                    <a:pt x="1" y="9"/>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9"/>
            <p:cNvSpPr>
              <a:spLocks/>
            </p:cNvSpPr>
            <p:nvPr userDrawn="1"/>
          </p:nvSpPr>
          <p:spPr bwMode="auto">
            <a:xfrm>
              <a:off x="9975852" y="2523173"/>
              <a:ext cx="14288" cy="14288"/>
            </a:xfrm>
            <a:custGeom>
              <a:avLst/>
              <a:gdLst>
                <a:gd name="T0" fmla="*/ 8 w 9"/>
                <a:gd name="T1" fmla="*/ 9 h 9"/>
                <a:gd name="T2" fmla="*/ 0 w 9"/>
                <a:gd name="T3" fmla="*/ 2 h 9"/>
                <a:gd name="T4" fmla="*/ 1 w 9"/>
                <a:gd name="T5" fmla="*/ 0 h 9"/>
                <a:gd name="T6" fmla="*/ 9 w 9"/>
                <a:gd name="T7" fmla="*/ 7 h 9"/>
                <a:gd name="T8" fmla="*/ 8 w 9"/>
                <a:gd name="T9" fmla="*/ 9 h 9"/>
              </a:gdLst>
              <a:ahLst/>
              <a:cxnLst>
                <a:cxn ang="0">
                  <a:pos x="T0" y="T1"/>
                </a:cxn>
                <a:cxn ang="0">
                  <a:pos x="T2" y="T3"/>
                </a:cxn>
                <a:cxn ang="0">
                  <a:pos x="T4" y="T5"/>
                </a:cxn>
                <a:cxn ang="0">
                  <a:pos x="T6" y="T7"/>
                </a:cxn>
                <a:cxn ang="0">
                  <a:pos x="T8" y="T9"/>
                </a:cxn>
              </a:cxnLst>
              <a:rect l="0" t="0" r="r" b="b"/>
              <a:pathLst>
                <a:path w="9" h="9">
                  <a:moveTo>
                    <a:pt x="8" y="9"/>
                  </a:moveTo>
                  <a:lnTo>
                    <a:pt x="0" y="2"/>
                  </a:lnTo>
                  <a:lnTo>
                    <a:pt x="1" y="0"/>
                  </a:lnTo>
                  <a:lnTo>
                    <a:pt x="9" y="7"/>
                  </a:lnTo>
                  <a:lnTo>
                    <a:pt x="8" y="9"/>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20"/>
            <p:cNvSpPr>
              <a:spLocks noEditPoints="1"/>
            </p:cNvSpPr>
            <p:nvPr userDrawn="1"/>
          </p:nvSpPr>
          <p:spPr bwMode="auto">
            <a:xfrm>
              <a:off x="9921877" y="2523173"/>
              <a:ext cx="12700" cy="14288"/>
            </a:xfrm>
            <a:custGeom>
              <a:avLst/>
              <a:gdLst>
                <a:gd name="T0" fmla="*/ 8 w 8"/>
                <a:gd name="T1" fmla="*/ 9 h 9"/>
                <a:gd name="T2" fmla="*/ 0 w 8"/>
                <a:gd name="T3" fmla="*/ 9 h 9"/>
                <a:gd name="T4" fmla="*/ 0 w 8"/>
                <a:gd name="T5" fmla="*/ 0 h 9"/>
                <a:gd name="T6" fmla="*/ 8 w 8"/>
                <a:gd name="T7" fmla="*/ 0 h 9"/>
                <a:gd name="T8" fmla="*/ 8 w 8"/>
                <a:gd name="T9" fmla="*/ 9 h 9"/>
                <a:gd name="T10" fmla="*/ 2 w 8"/>
                <a:gd name="T11" fmla="*/ 7 h 9"/>
                <a:gd name="T12" fmla="*/ 6 w 8"/>
                <a:gd name="T13" fmla="*/ 7 h 9"/>
                <a:gd name="T14" fmla="*/ 6 w 8"/>
                <a:gd name="T15" fmla="*/ 2 h 9"/>
                <a:gd name="T16" fmla="*/ 2 w 8"/>
                <a:gd name="T17" fmla="*/ 2 h 9"/>
                <a:gd name="T18" fmla="*/ 2 w 8"/>
                <a:gd name="T1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9">
                  <a:moveTo>
                    <a:pt x="8" y="9"/>
                  </a:moveTo>
                  <a:lnTo>
                    <a:pt x="0" y="9"/>
                  </a:lnTo>
                  <a:lnTo>
                    <a:pt x="0" y="0"/>
                  </a:lnTo>
                  <a:lnTo>
                    <a:pt x="8" y="0"/>
                  </a:lnTo>
                  <a:lnTo>
                    <a:pt x="8" y="9"/>
                  </a:lnTo>
                  <a:close/>
                  <a:moveTo>
                    <a:pt x="2" y="7"/>
                  </a:moveTo>
                  <a:lnTo>
                    <a:pt x="6" y="7"/>
                  </a:lnTo>
                  <a:lnTo>
                    <a:pt x="6" y="2"/>
                  </a:lnTo>
                  <a:lnTo>
                    <a:pt x="2" y="2"/>
                  </a:lnTo>
                  <a:lnTo>
                    <a:pt x="2" y="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21"/>
            <p:cNvSpPr>
              <a:spLocks noChangeArrowheads="1"/>
            </p:cNvSpPr>
            <p:nvPr userDrawn="1"/>
          </p:nvSpPr>
          <p:spPr bwMode="auto">
            <a:xfrm>
              <a:off x="9869489" y="2529523"/>
              <a:ext cx="11113" cy="31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22"/>
            <p:cNvSpPr>
              <a:spLocks/>
            </p:cNvSpPr>
            <p:nvPr userDrawn="1"/>
          </p:nvSpPr>
          <p:spPr bwMode="auto">
            <a:xfrm>
              <a:off x="8629652" y="2818448"/>
              <a:ext cx="890588" cy="1417638"/>
            </a:xfrm>
            <a:custGeom>
              <a:avLst/>
              <a:gdLst>
                <a:gd name="T0" fmla="*/ 574 w 598"/>
                <a:gd name="T1" fmla="*/ 957 h 957"/>
                <a:gd name="T2" fmla="*/ 24 w 598"/>
                <a:gd name="T3" fmla="*/ 957 h 957"/>
                <a:gd name="T4" fmla="*/ 0 w 598"/>
                <a:gd name="T5" fmla="*/ 933 h 957"/>
                <a:gd name="T6" fmla="*/ 0 w 598"/>
                <a:gd name="T7" fmla="*/ 24 h 957"/>
                <a:gd name="T8" fmla="*/ 24 w 598"/>
                <a:gd name="T9" fmla="*/ 0 h 957"/>
                <a:gd name="T10" fmla="*/ 574 w 598"/>
                <a:gd name="T11" fmla="*/ 0 h 957"/>
                <a:gd name="T12" fmla="*/ 598 w 598"/>
                <a:gd name="T13" fmla="*/ 24 h 957"/>
                <a:gd name="T14" fmla="*/ 598 w 598"/>
                <a:gd name="T15" fmla="*/ 933 h 957"/>
                <a:gd name="T16" fmla="*/ 574 w 598"/>
                <a:gd name="T17" fmla="*/ 957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8" h="957">
                  <a:moveTo>
                    <a:pt x="574" y="957"/>
                  </a:moveTo>
                  <a:cubicBezTo>
                    <a:pt x="24" y="957"/>
                    <a:pt x="24" y="957"/>
                    <a:pt x="24" y="957"/>
                  </a:cubicBezTo>
                  <a:cubicBezTo>
                    <a:pt x="11" y="957"/>
                    <a:pt x="0" y="946"/>
                    <a:pt x="0" y="933"/>
                  </a:cubicBezTo>
                  <a:cubicBezTo>
                    <a:pt x="0" y="24"/>
                    <a:pt x="0" y="24"/>
                    <a:pt x="0" y="24"/>
                  </a:cubicBezTo>
                  <a:cubicBezTo>
                    <a:pt x="0" y="11"/>
                    <a:pt x="11" y="0"/>
                    <a:pt x="24" y="0"/>
                  </a:cubicBezTo>
                  <a:cubicBezTo>
                    <a:pt x="574" y="0"/>
                    <a:pt x="574" y="0"/>
                    <a:pt x="574" y="0"/>
                  </a:cubicBezTo>
                  <a:cubicBezTo>
                    <a:pt x="587" y="0"/>
                    <a:pt x="598" y="11"/>
                    <a:pt x="598" y="24"/>
                  </a:cubicBezTo>
                  <a:cubicBezTo>
                    <a:pt x="598" y="933"/>
                    <a:pt x="598" y="933"/>
                    <a:pt x="598" y="933"/>
                  </a:cubicBezTo>
                  <a:cubicBezTo>
                    <a:pt x="598" y="946"/>
                    <a:pt x="587" y="957"/>
                    <a:pt x="574" y="957"/>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23"/>
            <p:cNvSpPr>
              <a:spLocks/>
            </p:cNvSpPr>
            <p:nvPr userDrawn="1"/>
          </p:nvSpPr>
          <p:spPr bwMode="auto">
            <a:xfrm>
              <a:off x="8623302" y="2812098"/>
              <a:ext cx="903288" cy="1430338"/>
            </a:xfrm>
            <a:custGeom>
              <a:avLst/>
              <a:gdLst>
                <a:gd name="T0" fmla="*/ 578 w 606"/>
                <a:gd name="T1" fmla="*/ 961 h 965"/>
                <a:gd name="T2" fmla="*/ 578 w 606"/>
                <a:gd name="T3" fmla="*/ 957 h 965"/>
                <a:gd name="T4" fmla="*/ 28 w 606"/>
                <a:gd name="T5" fmla="*/ 957 h 965"/>
                <a:gd name="T6" fmla="*/ 14 w 606"/>
                <a:gd name="T7" fmla="*/ 951 h 965"/>
                <a:gd name="T8" fmla="*/ 8 w 606"/>
                <a:gd name="T9" fmla="*/ 937 h 965"/>
                <a:gd name="T10" fmla="*/ 8 w 606"/>
                <a:gd name="T11" fmla="*/ 28 h 965"/>
                <a:gd name="T12" fmla="*/ 14 w 606"/>
                <a:gd name="T13" fmla="*/ 14 h 965"/>
                <a:gd name="T14" fmla="*/ 28 w 606"/>
                <a:gd name="T15" fmla="*/ 8 h 965"/>
                <a:gd name="T16" fmla="*/ 578 w 606"/>
                <a:gd name="T17" fmla="*/ 8 h 965"/>
                <a:gd name="T18" fmla="*/ 592 w 606"/>
                <a:gd name="T19" fmla="*/ 14 h 965"/>
                <a:gd name="T20" fmla="*/ 598 w 606"/>
                <a:gd name="T21" fmla="*/ 28 h 965"/>
                <a:gd name="T22" fmla="*/ 598 w 606"/>
                <a:gd name="T23" fmla="*/ 937 h 965"/>
                <a:gd name="T24" fmla="*/ 592 w 606"/>
                <a:gd name="T25" fmla="*/ 951 h 965"/>
                <a:gd name="T26" fmla="*/ 578 w 606"/>
                <a:gd name="T27" fmla="*/ 957 h 965"/>
                <a:gd name="T28" fmla="*/ 578 w 606"/>
                <a:gd name="T29" fmla="*/ 961 h 965"/>
                <a:gd name="T30" fmla="*/ 578 w 606"/>
                <a:gd name="T31" fmla="*/ 965 h 965"/>
                <a:gd name="T32" fmla="*/ 606 w 606"/>
                <a:gd name="T33" fmla="*/ 937 h 965"/>
                <a:gd name="T34" fmla="*/ 606 w 606"/>
                <a:gd name="T35" fmla="*/ 28 h 965"/>
                <a:gd name="T36" fmla="*/ 578 w 606"/>
                <a:gd name="T37" fmla="*/ 0 h 965"/>
                <a:gd name="T38" fmla="*/ 28 w 606"/>
                <a:gd name="T39" fmla="*/ 0 h 965"/>
                <a:gd name="T40" fmla="*/ 0 w 606"/>
                <a:gd name="T41" fmla="*/ 28 h 965"/>
                <a:gd name="T42" fmla="*/ 0 w 606"/>
                <a:gd name="T43" fmla="*/ 937 h 965"/>
                <a:gd name="T44" fmla="*/ 28 w 606"/>
                <a:gd name="T45" fmla="*/ 965 h 965"/>
                <a:gd name="T46" fmla="*/ 578 w 606"/>
                <a:gd name="T47" fmla="*/ 965 h 965"/>
                <a:gd name="T48" fmla="*/ 578 w 606"/>
                <a:gd name="T49" fmla="*/ 961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6" h="965">
                  <a:moveTo>
                    <a:pt x="578" y="961"/>
                  </a:moveTo>
                  <a:cubicBezTo>
                    <a:pt x="578" y="957"/>
                    <a:pt x="578" y="957"/>
                    <a:pt x="578" y="957"/>
                  </a:cubicBezTo>
                  <a:cubicBezTo>
                    <a:pt x="28" y="957"/>
                    <a:pt x="28" y="957"/>
                    <a:pt x="28" y="957"/>
                  </a:cubicBezTo>
                  <a:cubicBezTo>
                    <a:pt x="22" y="957"/>
                    <a:pt x="17" y="955"/>
                    <a:pt x="14" y="951"/>
                  </a:cubicBezTo>
                  <a:cubicBezTo>
                    <a:pt x="10" y="948"/>
                    <a:pt x="8" y="943"/>
                    <a:pt x="8" y="937"/>
                  </a:cubicBezTo>
                  <a:cubicBezTo>
                    <a:pt x="8" y="28"/>
                    <a:pt x="8" y="28"/>
                    <a:pt x="8" y="28"/>
                  </a:cubicBezTo>
                  <a:cubicBezTo>
                    <a:pt x="8" y="23"/>
                    <a:pt x="10" y="18"/>
                    <a:pt x="14" y="14"/>
                  </a:cubicBezTo>
                  <a:cubicBezTo>
                    <a:pt x="17" y="11"/>
                    <a:pt x="22" y="8"/>
                    <a:pt x="28" y="8"/>
                  </a:cubicBezTo>
                  <a:cubicBezTo>
                    <a:pt x="578" y="8"/>
                    <a:pt x="578" y="8"/>
                    <a:pt x="578" y="8"/>
                  </a:cubicBezTo>
                  <a:cubicBezTo>
                    <a:pt x="583" y="8"/>
                    <a:pt x="588" y="11"/>
                    <a:pt x="592" y="14"/>
                  </a:cubicBezTo>
                  <a:cubicBezTo>
                    <a:pt x="596" y="18"/>
                    <a:pt x="598" y="23"/>
                    <a:pt x="598" y="28"/>
                  </a:cubicBezTo>
                  <a:cubicBezTo>
                    <a:pt x="598" y="937"/>
                    <a:pt x="598" y="937"/>
                    <a:pt x="598" y="937"/>
                  </a:cubicBezTo>
                  <a:cubicBezTo>
                    <a:pt x="598" y="943"/>
                    <a:pt x="596" y="948"/>
                    <a:pt x="592" y="951"/>
                  </a:cubicBezTo>
                  <a:cubicBezTo>
                    <a:pt x="588" y="955"/>
                    <a:pt x="583" y="957"/>
                    <a:pt x="578" y="957"/>
                  </a:cubicBezTo>
                  <a:cubicBezTo>
                    <a:pt x="578" y="961"/>
                    <a:pt x="578" y="961"/>
                    <a:pt x="578" y="961"/>
                  </a:cubicBezTo>
                  <a:cubicBezTo>
                    <a:pt x="578" y="965"/>
                    <a:pt x="578" y="965"/>
                    <a:pt x="578" y="965"/>
                  </a:cubicBezTo>
                  <a:cubicBezTo>
                    <a:pt x="593" y="965"/>
                    <a:pt x="606" y="953"/>
                    <a:pt x="606" y="937"/>
                  </a:cubicBezTo>
                  <a:cubicBezTo>
                    <a:pt x="606" y="28"/>
                    <a:pt x="606" y="28"/>
                    <a:pt x="606" y="28"/>
                  </a:cubicBezTo>
                  <a:cubicBezTo>
                    <a:pt x="606" y="13"/>
                    <a:pt x="593" y="0"/>
                    <a:pt x="578" y="0"/>
                  </a:cubicBezTo>
                  <a:cubicBezTo>
                    <a:pt x="28" y="0"/>
                    <a:pt x="28" y="0"/>
                    <a:pt x="28" y="0"/>
                  </a:cubicBezTo>
                  <a:cubicBezTo>
                    <a:pt x="12" y="0"/>
                    <a:pt x="0" y="13"/>
                    <a:pt x="0" y="28"/>
                  </a:cubicBezTo>
                  <a:cubicBezTo>
                    <a:pt x="0" y="937"/>
                    <a:pt x="0" y="937"/>
                    <a:pt x="0" y="937"/>
                  </a:cubicBezTo>
                  <a:cubicBezTo>
                    <a:pt x="0" y="953"/>
                    <a:pt x="12" y="965"/>
                    <a:pt x="28" y="965"/>
                  </a:cubicBezTo>
                  <a:cubicBezTo>
                    <a:pt x="578" y="965"/>
                    <a:pt x="578" y="965"/>
                    <a:pt x="578" y="965"/>
                  </a:cubicBezTo>
                  <a:cubicBezTo>
                    <a:pt x="578" y="961"/>
                    <a:pt x="578" y="961"/>
                    <a:pt x="578" y="961"/>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24"/>
            <p:cNvSpPr>
              <a:spLocks/>
            </p:cNvSpPr>
            <p:nvPr userDrawn="1"/>
          </p:nvSpPr>
          <p:spPr bwMode="auto">
            <a:xfrm>
              <a:off x="8636002" y="2823210"/>
              <a:ext cx="879475" cy="1406525"/>
            </a:xfrm>
            <a:custGeom>
              <a:avLst/>
              <a:gdLst>
                <a:gd name="T0" fmla="*/ 570 w 590"/>
                <a:gd name="T1" fmla="*/ 0 h 949"/>
                <a:gd name="T2" fmla="*/ 20 w 590"/>
                <a:gd name="T3" fmla="*/ 0 h 949"/>
                <a:gd name="T4" fmla="*/ 6 w 590"/>
                <a:gd name="T5" fmla="*/ 6 h 949"/>
                <a:gd name="T6" fmla="*/ 0 w 590"/>
                <a:gd name="T7" fmla="*/ 20 h 949"/>
                <a:gd name="T8" fmla="*/ 0 w 590"/>
                <a:gd name="T9" fmla="*/ 929 h 949"/>
                <a:gd name="T10" fmla="*/ 6 w 590"/>
                <a:gd name="T11" fmla="*/ 943 h 949"/>
                <a:gd name="T12" fmla="*/ 20 w 590"/>
                <a:gd name="T13" fmla="*/ 949 h 949"/>
                <a:gd name="T14" fmla="*/ 570 w 590"/>
                <a:gd name="T15" fmla="*/ 949 h 949"/>
                <a:gd name="T16" fmla="*/ 584 w 590"/>
                <a:gd name="T17" fmla="*/ 943 h 949"/>
                <a:gd name="T18" fmla="*/ 590 w 590"/>
                <a:gd name="T19" fmla="*/ 929 h 949"/>
                <a:gd name="T20" fmla="*/ 590 w 590"/>
                <a:gd name="T21" fmla="*/ 20 h 949"/>
                <a:gd name="T22" fmla="*/ 584 w 590"/>
                <a:gd name="T23" fmla="*/ 6 h 949"/>
                <a:gd name="T24" fmla="*/ 570 w 590"/>
                <a:gd name="T25" fmla="*/ 0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0" h="949">
                  <a:moveTo>
                    <a:pt x="570" y="0"/>
                  </a:moveTo>
                  <a:cubicBezTo>
                    <a:pt x="20" y="0"/>
                    <a:pt x="20" y="0"/>
                    <a:pt x="20" y="0"/>
                  </a:cubicBezTo>
                  <a:cubicBezTo>
                    <a:pt x="14" y="0"/>
                    <a:pt x="9" y="3"/>
                    <a:pt x="6" y="6"/>
                  </a:cubicBezTo>
                  <a:cubicBezTo>
                    <a:pt x="2" y="10"/>
                    <a:pt x="0" y="15"/>
                    <a:pt x="0" y="20"/>
                  </a:cubicBezTo>
                  <a:cubicBezTo>
                    <a:pt x="0" y="929"/>
                    <a:pt x="0" y="929"/>
                    <a:pt x="0" y="929"/>
                  </a:cubicBezTo>
                  <a:cubicBezTo>
                    <a:pt x="0" y="935"/>
                    <a:pt x="2" y="940"/>
                    <a:pt x="6" y="943"/>
                  </a:cubicBezTo>
                  <a:cubicBezTo>
                    <a:pt x="9" y="947"/>
                    <a:pt x="14" y="949"/>
                    <a:pt x="20" y="949"/>
                  </a:cubicBezTo>
                  <a:cubicBezTo>
                    <a:pt x="570" y="949"/>
                    <a:pt x="570" y="949"/>
                    <a:pt x="570" y="949"/>
                  </a:cubicBezTo>
                  <a:cubicBezTo>
                    <a:pt x="575" y="949"/>
                    <a:pt x="580" y="947"/>
                    <a:pt x="584" y="943"/>
                  </a:cubicBezTo>
                  <a:cubicBezTo>
                    <a:pt x="588" y="940"/>
                    <a:pt x="590" y="935"/>
                    <a:pt x="590" y="929"/>
                  </a:cubicBezTo>
                  <a:cubicBezTo>
                    <a:pt x="590" y="20"/>
                    <a:pt x="590" y="20"/>
                    <a:pt x="590" y="20"/>
                  </a:cubicBezTo>
                  <a:cubicBezTo>
                    <a:pt x="590" y="15"/>
                    <a:pt x="588" y="10"/>
                    <a:pt x="584" y="6"/>
                  </a:cubicBezTo>
                  <a:cubicBezTo>
                    <a:pt x="580" y="3"/>
                    <a:pt x="575" y="0"/>
                    <a:pt x="570" y="0"/>
                  </a:cubicBezTo>
                </a:path>
              </a:pathLst>
            </a:custGeom>
            <a:solidFill>
              <a:srgbClr val="0034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25"/>
            <p:cNvSpPr>
              <a:spLocks noEditPoints="1"/>
            </p:cNvSpPr>
            <p:nvPr userDrawn="1"/>
          </p:nvSpPr>
          <p:spPr bwMode="auto">
            <a:xfrm>
              <a:off x="8629652" y="2818448"/>
              <a:ext cx="890588" cy="1417638"/>
            </a:xfrm>
            <a:custGeom>
              <a:avLst/>
              <a:gdLst>
                <a:gd name="T0" fmla="*/ 24 w 598"/>
                <a:gd name="T1" fmla="*/ 953 h 957"/>
                <a:gd name="T2" fmla="*/ 10 w 598"/>
                <a:gd name="T3" fmla="*/ 947 h 957"/>
                <a:gd name="T4" fmla="*/ 4 w 598"/>
                <a:gd name="T5" fmla="*/ 933 h 957"/>
                <a:gd name="T6" fmla="*/ 4 w 598"/>
                <a:gd name="T7" fmla="*/ 24 h 957"/>
                <a:gd name="T8" fmla="*/ 10 w 598"/>
                <a:gd name="T9" fmla="*/ 10 h 957"/>
                <a:gd name="T10" fmla="*/ 24 w 598"/>
                <a:gd name="T11" fmla="*/ 4 h 957"/>
                <a:gd name="T12" fmla="*/ 574 w 598"/>
                <a:gd name="T13" fmla="*/ 4 h 957"/>
                <a:gd name="T14" fmla="*/ 588 w 598"/>
                <a:gd name="T15" fmla="*/ 10 h 957"/>
                <a:gd name="T16" fmla="*/ 594 w 598"/>
                <a:gd name="T17" fmla="*/ 24 h 957"/>
                <a:gd name="T18" fmla="*/ 594 w 598"/>
                <a:gd name="T19" fmla="*/ 933 h 957"/>
                <a:gd name="T20" fmla="*/ 588 w 598"/>
                <a:gd name="T21" fmla="*/ 947 h 957"/>
                <a:gd name="T22" fmla="*/ 574 w 598"/>
                <a:gd name="T23" fmla="*/ 953 h 957"/>
                <a:gd name="T24" fmla="*/ 574 w 598"/>
                <a:gd name="T25" fmla="*/ 953 h 957"/>
                <a:gd name="T26" fmla="*/ 24 w 598"/>
                <a:gd name="T27" fmla="*/ 953 h 957"/>
                <a:gd name="T28" fmla="*/ 574 w 598"/>
                <a:gd name="T29" fmla="*/ 0 h 957"/>
                <a:gd name="T30" fmla="*/ 24 w 598"/>
                <a:gd name="T31" fmla="*/ 0 h 957"/>
                <a:gd name="T32" fmla="*/ 0 w 598"/>
                <a:gd name="T33" fmla="*/ 24 h 957"/>
                <a:gd name="T34" fmla="*/ 0 w 598"/>
                <a:gd name="T35" fmla="*/ 933 h 957"/>
                <a:gd name="T36" fmla="*/ 24 w 598"/>
                <a:gd name="T37" fmla="*/ 957 h 957"/>
                <a:gd name="T38" fmla="*/ 574 w 598"/>
                <a:gd name="T39" fmla="*/ 957 h 957"/>
                <a:gd name="T40" fmla="*/ 598 w 598"/>
                <a:gd name="T41" fmla="*/ 933 h 957"/>
                <a:gd name="T42" fmla="*/ 598 w 598"/>
                <a:gd name="T43" fmla="*/ 24 h 957"/>
                <a:gd name="T44" fmla="*/ 574 w 598"/>
                <a:gd name="T45" fmla="*/ 0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8" h="957">
                  <a:moveTo>
                    <a:pt x="24" y="953"/>
                  </a:moveTo>
                  <a:cubicBezTo>
                    <a:pt x="18" y="953"/>
                    <a:pt x="13" y="951"/>
                    <a:pt x="10" y="947"/>
                  </a:cubicBezTo>
                  <a:cubicBezTo>
                    <a:pt x="6" y="944"/>
                    <a:pt x="4" y="939"/>
                    <a:pt x="4" y="933"/>
                  </a:cubicBezTo>
                  <a:cubicBezTo>
                    <a:pt x="4" y="24"/>
                    <a:pt x="4" y="24"/>
                    <a:pt x="4" y="24"/>
                  </a:cubicBezTo>
                  <a:cubicBezTo>
                    <a:pt x="4" y="19"/>
                    <a:pt x="6" y="14"/>
                    <a:pt x="10" y="10"/>
                  </a:cubicBezTo>
                  <a:cubicBezTo>
                    <a:pt x="13" y="7"/>
                    <a:pt x="18" y="4"/>
                    <a:pt x="24" y="4"/>
                  </a:cubicBezTo>
                  <a:cubicBezTo>
                    <a:pt x="574" y="4"/>
                    <a:pt x="574" y="4"/>
                    <a:pt x="574" y="4"/>
                  </a:cubicBezTo>
                  <a:cubicBezTo>
                    <a:pt x="579" y="4"/>
                    <a:pt x="584" y="7"/>
                    <a:pt x="588" y="10"/>
                  </a:cubicBezTo>
                  <a:cubicBezTo>
                    <a:pt x="592" y="14"/>
                    <a:pt x="594" y="19"/>
                    <a:pt x="594" y="24"/>
                  </a:cubicBezTo>
                  <a:cubicBezTo>
                    <a:pt x="594" y="933"/>
                    <a:pt x="594" y="933"/>
                    <a:pt x="594" y="933"/>
                  </a:cubicBezTo>
                  <a:cubicBezTo>
                    <a:pt x="594" y="939"/>
                    <a:pt x="592" y="944"/>
                    <a:pt x="588" y="947"/>
                  </a:cubicBezTo>
                  <a:cubicBezTo>
                    <a:pt x="584" y="951"/>
                    <a:pt x="579" y="953"/>
                    <a:pt x="574" y="953"/>
                  </a:cubicBezTo>
                  <a:cubicBezTo>
                    <a:pt x="574" y="953"/>
                    <a:pt x="574" y="953"/>
                    <a:pt x="574" y="953"/>
                  </a:cubicBezTo>
                  <a:cubicBezTo>
                    <a:pt x="24" y="953"/>
                    <a:pt x="24" y="953"/>
                    <a:pt x="24" y="953"/>
                  </a:cubicBezTo>
                  <a:moveTo>
                    <a:pt x="574" y="0"/>
                  </a:moveTo>
                  <a:cubicBezTo>
                    <a:pt x="24" y="0"/>
                    <a:pt x="24" y="0"/>
                    <a:pt x="24" y="0"/>
                  </a:cubicBezTo>
                  <a:cubicBezTo>
                    <a:pt x="11" y="0"/>
                    <a:pt x="0" y="11"/>
                    <a:pt x="0" y="24"/>
                  </a:cubicBezTo>
                  <a:cubicBezTo>
                    <a:pt x="0" y="933"/>
                    <a:pt x="0" y="933"/>
                    <a:pt x="0" y="933"/>
                  </a:cubicBezTo>
                  <a:cubicBezTo>
                    <a:pt x="0" y="946"/>
                    <a:pt x="11" y="957"/>
                    <a:pt x="24" y="957"/>
                  </a:cubicBezTo>
                  <a:cubicBezTo>
                    <a:pt x="574" y="957"/>
                    <a:pt x="574" y="957"/>
                    <a:pt x="574" y="957"/>
                  </a:cubicBezTo>
                  <a:cubicBezTo>
                    <a:pt x="587" y="957"/>
                    <a:pt x="598" y="946"/>
                    <a:pt x="598" y="933"/>
                  </a:cubicBezTo>
                  <a:cubicBezTo>
                    <a:pt x="598" y="24"/>
                    <a:pt x="598" y="24"/>
                    <a:pt x="598" y="24"/>
                  </a:cubicBezTo>
                  <a:cubicBezTo>
                    <a:pt x="598" y="11"/>
                    <a:pt x="587" y="0"/>
                    <a:pt x="574" y="0"/>
                  </a:cubicBezTo>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26"/>
            <p:cNvSpPr>
              <a:spLocks noChangeArrowheads="1"/>
            </p:cNvSpPr>
            <p:nvPr userDrawn="1"/>
          </p:nvSpPr>
          <p:spPr bwMode="auto">
            <a:xfrm>
              <a:off x="8701089" y="2889885"/>
              <a:ext cx="747713" cy="12747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Rectangle 27"/>
            <p:cNvSpPr>
              <a:spLocks noChangeArrowheads="1"/>
            </p:cNvSpPr>
            <p:nvPr userDrawn="1"/>
          </p:nvSpPr>
          <p:spPr bwMode="auto">
            <a:xfrm>
              <a:off x="8701089" y="2889885"/>
              <a:ext cx="747713" cy="16827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Freeform 28"/>
            <p:cNvSpPr>
              <a:spLocks/>
            </p:cNvSpPr>
            <p:nvPr userDrawn="1"/>
          </p:nvSpPr>
          <p:spPr bwMode="auto">
            <a:xfrm>
              <a:off x="7754939" y="2562860"/>
              <a:ext cx="719138" cy="798513"/>
            </a:xfrm>
            <a:custGeom>
              <a:avLst/>
              <a:gdLst>
                <a:gd name="T0" fmla="*/ 442 w 482"/>
                <a:gd name="T1" fmla="*/ 431 h 539"/>
                <a:gd name="T2" fmla="*/ 281 w 482"/>
                <a:gd name="T3" fmla="*/ 524 h 539"/>
                <a:gd name="T4" fmla="*/ 201 w 482"/>
                <a:gd name="T5" fmla="*/ 524 h 539"/>
                <a:gd name="T6" fmla="*/ 40 w 482"/>
                <a:gd name="T7" fmla="*/ 431 h 539"/>
                <a:gd name="T8" fmla="*/ 0 w 482"/>
                <a:gd name="T9" fmla="*/ 362 h 539"/>
                <a:gd name="T10" fmla="*/ 0 w 482"/>
                <a:gd name="T11" fmla="*/ 176 h 539"/>
                <a:gd name="T12" fmla="*/ 40 w 482"/>
                <a:gd name="T13" fmla="*/ 107 h 539"/>
                <a:gd name="T14" fmla="*/ 201 w 482"/>
                <a:gd name="T15" fmla="*/ 14 h 539"/>
                <a:gd name="T16" fmla="*/ 281 w 482"/>
                <a:gd name="T17" fmla="*/ 14 h 539"/>
                <a:gd name="T18" fmla="*/ 442 w 482"/>
                <a:gd name="T19" fmla="*/ 107 h 539"/>
                <a:gd name="T20" fmla="*/ 482 w 482"/>
                <a:gd name="T21" fmla="*/ 176 h 539"/>
                <a:gd name="T22" fmla="*/ 482 w 482"/>
                <a:gd name="T23" fmla="*/ 362 h 539"/>
                <a:gd name="T24" fmla="*/ 442 w 482"/>
                <a:gd name="T25" fmla="*/ 431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2" h="539">
                  <a:moveTo>
                    <a:pt x="442" y="431"/>
                  </a:moveTo>
                  <a:cubicBezTo>
                    <a:pt x="281" y="524"/>
                    <a:pt x="281" y="524"/>
                    <a:pt x="281" y="524"/>
                  </a:cubicBezTo>
                  <a:cubicBezTo>
                    <a:pt x="256" y="539"/>
                    <a:pt x="226" y="539"/>
                    <a:pt x="201" y="524"/>
                  </a:cubicBezTo>
                  <a:cubicBezTo>
                    <a:pt x="40" y="431"/>
                    <a:pt x="40" y="431"/>
                    <a:pt x="40" y="431"/>
                  </a:cubicBezTo>
                  <a:cubicBezTo>
                    <a:pt x="15" y="417"/>
                    <a:pt x="0" y="391"/>
                    <a:pt x="0" y="362"/>
                  </a:cubicBezTo>
                  <a:cubicBezTo>
                    <a:pt x="0" y="176"/>
                    <a:pt x="0" y="176"/>
                    <a:pt x="0" y="176"/>
                  </a:cubicBezTo>
                  <a:cubicBezTo>
                    <a:pt x="0" y="148"/>
                    <a:pt x="15" y="121"/>
                    <a:pt x="40" y="107"/>
                  </a:cubicBezTo>
                  <a:cubicBezTo>
                    <a:pt x="201" y="14"/>
                    <a:pt x="201" y="14"/>
                    <a:pt x="201" y="14"/>
                  </a:cubicBezTo>
                  <a:cubicBezTo>
                    <a:pt x="226" y="0"/>
                    <a:pt x="256" y="0"/>
                    <a:pt x="281" y="14"/>
                  </a:cubicBezTo>
                  <a:cubicBezTo>
                    <a:pt x="442" y="107"/>
                    <a:pt x="442" y="107"/>
                    <a:pt x="442" y="107"/>
                  </a:cubicBezTo>
                  <a:cubicBezTo>
                    <a:pt x="467" y="121"/>
                    <a:pt x="482" y="148"/>
                    <a:pt x="482" y="176"/>
                  </a:cubicBezTo>
                  <a:cubicBezTo>
                    <a:pt x="482" y="362"/>
                    <a:pt x="482" y="362"/>
                    <a:pt x="482" y="362"/>
                  </a:cubicBezTo>
                  <a:cubicBezTo>
                    <a:pt x="482" y="391"/>
                    <a:pt x="467" y="417"/>
                    <a:pt x="442" y="431"/>
                  </a:cubicBezTo>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29"/>
            <p:cNvSpPr>
              <a:spLocks/>
            </p:cNvSpPr>
            <p:nvPr userDrawn="1"/>
          </p:nvSpPr>
          <p:spPr bwMode="auto">
            <a:xfrm>
              <a:off x="7939089" y="3007360"/>
              <a:ext cx="328613" cy="354013"/>
            </a:xfrm>
            <a:custGeom>
              <a:avLst/>
              <a:gdLst>
                <a:gd name="T0" fmla="*/ 0 w 221"/>
                <a:gd name="T1" fmla="*/ 0 h 239"/>
                <a:gd name="T2" fmla="*/ 0 w 221"/>
                <a:gd name="T3" fmla="*/ 179 h 239"/>
                <a:gd name="T4" fmla="*/ 78 w 221"/>
                <a:gd name="T5" fmla="*/ 224 h 239"/>
                <a:gd name="T6" fmla="*/ 158 w 221"/>
                <a:gd name="T7" fmla="*/ 224 h 239"/>
                <a:gd name="T8" fmla="*/ 221 w 221"/>
                <a:gd name="T9" fmla="*/ 188 h 239"/>
                <a:gd name="T10" fmla="*/ 221 w 221"/>
                <a:gd name="T11" fmla="*/ 0 h 239"/>
                <a:gd name="T12" fmla="*/ 0 w 221"/>
                <a:gd name="T13" fmla="*/ 0 h 239"/>
              </a:gdLst>
              <a:ahLst/>
              <a:cxnLst>
                <a:cxn ang="0">
                  <a:pos x="T0" y="T1"/>
                </a:cxn>
                <a:cxn ang="0">
                  <a:pos x="T2" y="T3"/>
                </a:cxn>
                <a:cxn ang="0">
                  <a:pos x="T4" y="T5"/>
                </a:cxn>
                <a:cxn ang="0">
                  <a:pos x="T6" y="T7"/>
                </a:cxn>
                <a:cxn ang="0">
                  <a:pos x="T8" y="T9"/>
                </a:cxn>
                <a:cxn ang="0">
                  <a:pos x="T10" y="T11"/>
                </a:cxn>
                <a:cxn ang="0">
                  <a:pos x="T12" y="T13"/>
                </a:cxn>
              </a:cxnLst>
              <a:rect l="0" t="0" r="r" b="b"/>
              <a:pathLst>
                <a:path w="221" h="239">
                  <a:moveTo>
                    <a:pt x="0" y="0"/>
                  </a:moveTo>
                  <a:cubicBezTo>
                    <a:pt x="0" y="179"/>
                    <a:pt x="0" y="179"/>
                    <a:pt x="0" y="179"/>
                  </a:cubicBezTo>
                  <a:cubicBezTo>
                    <a:pt x="78" y="224"/>
                    <a:pt x="78" y="224"/>
                    <a:pt x="78" y="224"/>
                  </a:cubicBezTo>
                  <a:cubicBezTo>
                    <a:pt x="103" y="239"/>
                    <a:pt x="133" y="239"/>
                    <a:pt x="158" y="224"/>
                  </a:cubicBezTo>
                  <a:cubicBezTo>
                    <a:pt x="221" y="188"/>
                    <a:pt x="221" y="188"/>
                    <a:pt x="221" y="188"/>
                  </a:cubicBezTo>
                  <a:cubicBezTo>
                    <a:pt x="221" y="0"/>
                    <a:pt x="221" y="0"/>
                    <a:pt x="221" y="0"/>
                  </a:cubicBezTo>
                  <a:lnTo>
                    <a:pt x="0" y="0"/>
                  </a:lnTo>
                  <a:close/>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Freeform 30"/>
            <p:cNvSpPr>
              <a:spLocks/>
            </p:cNvSpPr>
            <p:nvPr userDrawn="1"/>
          </p:nvSpPr>
          <p:spPr bwMode="auto">
            <a:xfrm>
              <a:off x="7754939" y="3693160"/>
              <a:ext cx="719138" cy="800100"/>
            </a:xfrm>
            <a:custGeom>
              <a:avLst/>
              <a:gdLst>
                <a:gd name="T0" fmla="*/ 442 w 482"/>
                <a:gd name="T1" fmla="*/ 432 h 539"/>
                <a:gd name="T2" fmla="*/ 281 w 482"/>
                <a:gd name="T3" fmla="*/ 525 h 539"/>
                <a:gd name="T4" fmla="*/ 201 w 482"/>
                <a:gd name="T5" fmla="*/ 525 h 539"/>
                <a:gd name="T6" fmla="*/ 40 w 482"/>
                <a:gd name="T7" fmla="*/ 432 h 539"/>
                <a:gd name="T8" fmla="*/ 0 w 482"/>
                <a:gd name="T9" fmla="*/ 362 h 539"/>
                <a:gd name="T10" fmla="*/ 0 w 482"/>
                <a:gd name="T11" fmla="*/ 176 h 539"/>
                <a:gd name="T12" fmla="*/ 40 w 482"/>
                <a:gd name="T13" fmla="*/ 107 h 539"/>
                <a:gd name="T14" fmla="*/ 201 w 482"/>
                <a:gd name="T15" fmla="*/ 14 h 539"/>
                <a:gd name="T16" fmla="*/ 281 w 482"/>
                <a:gd name="T17" fmla="*/ 14 h 539"/>
                <a:gd name="T18" fmla="*/ 442 w 482"/>
                <a:gd name="T19" fmla="*/ 107 h 539"/>
                <a:gd name="T20" fmla="*/ 482 w 482"/>
                <a:gd name="T21" fmla="*/ 176 h 539"/>
                <a:gd name="T22" fmla="*/ 482 w 482"/>
                <a:gd name="T23" fmla="*/ 362 h 539"/>
                <a:gd name="T24" fmla="*/ 442 w 482"/>
                <a:gd name="T25" fmla="*/ 432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2" h="539">
                  <a:moveTo>
                    <a:pt x="442" y="432"/>
                  </a:moveTo>
                  <a:cubicBezTo>
                    <a:pt x="281" y="525"/>
                    <a:pt x="281" y="525"/>
                    <a:pt x="281" y="525"/>
                  </a:cubicBezTo>
                  <a:cubicBezTo>
                    <a:pt x="256" y="539"/>
                    <a:pt x="226" y="539"/>
                    <a:pt x="201" y="525"/>
                  </a:cubicBezTo>
                  <a:cubicBezTo>
                    <a:pt x="40" y="432"/>
                    <a:pt x="40" y="432"/>
                    <a:pt x="40" y="432"/>
                  </a:cubicBezTo>
                  <a:cubicBezTo>
                    <a:pt x="15" y="417"/>
                    <a:pt x="0" y="391"/>
                    <a:pt x="0" y="362"/>
                  </a:cubicBezTo>
                  <a:cubicBezTo>
                    <a:pt x="0" y="176"/>
                    <a:pt x="0" y="176"/>
                    <a:pt x="0" y="176"/>
                  </a:cubicBezTo>
                  <a:cubicBezTo>
                    <a:pt x="0" y="148"/>
                    <a:pt x="15" y="121"/>
                    <a:pt x="40" y="107"/>
                  </a:cubicBezTo>
                  <a:cubicBezTo>
                    <a:pt x="201" y="14"/>
                    <a:pt x="201" y="14"/>
                    <a:pt x="201" y="14"/>
                  </a:cubicBezTo>
                  <a:cubicBezTo>
                    <a:pt x="226" y="0"/>
                    <a:pt x="256" y="0"/>
                    <a:pt x="281" y="14"/>
                  </a:cubicBezTo>
                  <a:cubicBezTo>
                    <a:pt x="442" y="107"/>
                    <a:pt x="442" y="107"/>
                    <a:pt x="442" y="107"/>
                  </a:cubicBezTo>
                  <a:cubicBezTo>
                    <a:pt x="467" y="121"/>
                    <a:pt x="482" y="148"/>
                    <a:pt x="482" y="176"/>
                  </a:cubicBezTo>
                  <a:cubicBezTo>
                    <a:pt x="482" y="362"/>
                    <a:pt x="482" y="362"/>
                    <a:pt x="482" y="362"/>
                  </a:cubicBezTo>
                  <a:cubicBezTo>
                    <a:pt x="482" y="391"/>
                    <a:pt x="467" y="417"/>
                    <a:pt x="442" y="4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Freeform 31"/>
            <p:cNvSpPr>
              <a:spLocks/>
            </p:cNvSpPr>
            <p:nvPr userDrawn="1"/>
          </p:nvSpPr>
          <p:spPr bwMode="auto">
            <a:xfrm>
              <a:off x="7918452" y="4094798"/>
              <a:ext cx="365125" cy="398463"/>
            </a:xfrm>
            <a:custGeom>
              <a:avLst/>
              <a:gdLst>
                <a:gd name="T0" fmla="*/ 245 w 245"/>
                <a:gd name="T1" fmla="*/ 0 h 269"/>
                <a:gd name="T2" fmla="*/ 0 w 245"/>
                <a:gd name="T3" fmla="*/ 0 h 269"/>
                <a:gd name="T4" fmla="*/ 0 w 245"/>
                <a:gd name="T5" fmla="*/ 202 h 269"/>
                <a:gd name="T6" fmla="*/ 91 w 245"/>
                <a:gd name="T7" fmla="*/ 255 h 269"/>
                <a:gd name="T8" fmla="*/ 171 w 245"/>
                <a:gd name="T9" fmla="*/ 255 h 269"/>
                <a:gd name="T10" fmla="*/ 245 w 245"/>
                <a:gd name="T11" fmla="*/ 212 h 269"/>
                <a:gd name="T12" fmla="*/ 245 w 245"/>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245" h="269">
                  <a:moveTo>
                    <a:pt x="245" y="0"/>
                  </a:moveTo>
                  <a:cubicBezTo>
                    <a:pt x="0" y="0"/>
                    <a:pt x="0" y="0"/>
                    <a:pt x="0" y="0"/>
                  </a:cubicBezTo>
                  <a:cubicBezTo>
                    <a:pt x="0" y="202"/>
                    <a:pt x="0" y="202"/>
                    <a:pt x="0" y="202"/>
                  </a:cubicBezTo>
                  <a:cubicBezTo>
                    <a:pt x="91" y="255"/>
                    <a:pt x="91" y="255"/>
                    <a:pt x="91" y="255"/>
                  </a:cubicBezTo>
                  <a:cubicBezTo>
                    <a:pt x="116" y="269"/>
                    <a:pt x="146" y="269"/>
                    <a:pt x="171" y="255"/>
                  </a:cubicBezTo>
                  <a:cubicBezTo>
                    <a:pt x="245" y="212"/>
                    <a:pt x="245" y="212"/>
                    <a:pt x="245" y="212"/>
                  </a:cubicBezTo>
                  <a:cubicBezTo>
                    <a:pt x="245" y="0"/>
                    <a:pt x="245" y="0"/>
                    <a:pt x="24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Freeform 32"/>
            <p:cNvSpPr>
              <a:spLocks/>
            </p:cNvSpPr>
            <p:nvPr userDrawn="1"/>
          </p:nvSpPr>
          <p:spPr bwMode="auto">
            <a:xfrm>
              <a:off x="8474077" y="2956560"/>
              <a:ext cx="77788" cy="1141413"/>
            </a:xfrm>
            <a:custGeom>
              <a:avLst/>
              <a:gdLst>
                <a:gd name="T0" fmla="*/ 0 w 49"/>
                <a:gd name="T1" fmla="*/ 7 h 719"/>
                <a:gd name="T2" fmla="*/ 42 w 49"/>
                <a:gd name="T3" fmla="*/ 7 h 719"/>
                <a:gd name="T4" fmla="*/ 42 w 49"/>
                <a:gd name="T5" fmla="*/ 712 h 719"/>
                <a:gd name="T6" fmla="*/ 0 w 49"/>
                <a:gd name="T7" fmla="*/ 712 h 719"/>
                <a:gd name="T8" fmla="*/ 0 w 49"/>
                <a:gd name="T9" fmla="*/ 719 h 719"/>
                <a:gd name="T10" fmla="*/ 49 w 49"/>
                <a:gd name="T11" fmla="*/ 719 h 719"/>
                <a:gd name="T12" fmla="*/ 49 w 49"/>
                <a:gd name="T13" fmla="*/ 0 h 719"/>
                <a:gd name="T14" fmla="*/ 0 w 49"/>
                <a:gd name="T15" fmla="*/ 0 h 719"/>
                <a:gd name="T16" fmla="*/ 0 w 49"/>
                <a:gd name="T17" fmla="*/ 7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19">
                  <a:moveTo>
                    <a:pt x="0" y="7"/>
                  </a:moveTo>
                  <a:lnTo>
                    <a:pt x="42" y="7"/>
                  </a:lnTo>
                  <a:lnTo>
                    <a:pt x="42" y="712"/>
                  </a:lnTo>
                  <a:lnTo>
                    <a:pt x="0" y="712"/>
                  </a:lnTo>
                  <a:lnTo>
                    <a:pt x="0" y="719"/>
                  </a:lnTo>
                  <a:lnTo>
                    <a:pt x="49" y="719"/>
                  </a:lnTo>
                  <a:lnTo>
                    <a:pt x="49" y="0"/>
                  </a:lnTo>
                  <a:lnTo>
                    <a:pt x="0" y="0"/>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Freeform 33"/>
            <p:cNvSpPr>
              <a:spLocks/>
            </p:cNvSpPr>
            <p:nvPr userDrawn="1"/>
          </p:nvSpPr>
          <p:spPr bwMode="auto">
            <a:xfrm>
              <a:off x="8474077" y="2956560"/>
              <a:ext cx="77788" cy="1141413"/>
            </a:xfrm>
            <a:custGeom>
              <a:avLst/>
              <a:gdLst>
                <a:gd name="T0" fmla="*/ 0 w 49"/>
                <a:gd name="T1" fmla="*/ 7 h 719"/>
                <a:gd name="T2" fmla="*/ 42 w 49"/>
                <a:gd name="T3" fmla="*/ 7 h 719"/>
                <a:gd name="T4" fmla="*/ 42 w 49"/>
                <a:gd name="T5" fmla="*/ 712 h 719"/>
                <a:gd name="T6" fmla="*/ 0 w 49"/>
                <a:gd name="T7" fmla="*/ 712 h 719"/>
                <a:gd name="T8" fmla="*/ 0 w 49"/>
                <a:gd name="T9" fmla="*/ 719 h 719"/>
                <a:gd name="T10" fmla="*/ 49 w 49"/>
                <a:gd name="T11" fmla="*/ 719 h 719"/>
                <a:gd name="T12" fmla="*/ 49 w 49"/>
                <a:gd name="T13" fmla="*/ 0 h 719"/>
                <a:gd name="T14" fmla="*/ 0 w 49"/>
                <a:gd name="T15" fmla="*/ 0 h 719"/>
                <a:gd name="T16" fmla="*/ 0 w 49"/>
                <a:gd name="T17" fmla="*/ 7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19">
                  <a:moveTo>
                    <a:pt x="0" y="7"/>
                  </a:moveTo>
                  <a:lnTo>
                    <a:pt x="42" y="7"/>
                  </a:lnTo>
                  <a:lnTo>
                    <a:pt x="42" y="712"/>
                  </a:lnTo>
                  <a:lnTo>
                    <a:pt x="0" y="712"/>
                  </a:lnTo>
                  <a:lnTo>
                    <a:pt x="0" y="719"/>
                  </a:lnTo>
                  <a:lnTo>
                    <a:pt x="49" y="719"/>
                  </a:lnTo>
                  <a:lnTo>
                    <a:pt x="49" y="0"/>
                  </a:lnTo>
                  <a:lnTo>
                    <a:pt x="0"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34"/>
            <p:cNvSpPr>
              <a:spLocks noChangeArrowheads="1"/>
            </p:cNvSpPr>
            <p:nvPr userDrawn="1"/>
          </p:nvSpPr>
          <p:spPr bwMode="auto">
            <a:xfrm>
              <a:off x="8547102" y="3521710"/>
              <a:ext cx="8255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35"/>
            <p:cNvSpPr>
              <a:spLocks/>
            </p:cNvSpPr>
            <p:nvPr userDrawn="1"/>
          </p:nvSpPr>
          <p:spPr bwMode="auto">
            <a:xfrm>
              <a:off x="8547102" y="3521710"/>
              <a:ext cx="82550" cy="12700"/>
            </a:xfrm>
            <a:custGeom>
              <a:avLst/>
              <a:gdLst>
                <a:gd name="T0" fmla="*/ 0 w 52"/>
                <a:gd name="T1" fmla="*/ 8 h 8"/>
                <a:gd name="T2" fmla="*/ 52 w 52"/>
                <a:gd name="T3" fmla="*/ 8 h 8"/>
                <a:gd name="T4" fmla="*/ 52 w 52"/>
                <a:gd name="T5" fmla="*/ 0 h 8"/>
                <a:gd name="T6" fmla="*/ 0 w 52"/>
                <a:gd name="T7" fmla="*/ 0 h 8"/>
              </a:gdLst>
              <a:ahLst/>
              <a:cxnLst>
                <a:cxn ang="0">
                  <a:pos x="T0" y="T1"/>
                </a:cxn>
                <a:cxn ang="0">
                  <a:pos x="T2" y="T3"/>
                </a:cxn>
                <a:cxn ang="0">
                  <a:pos x="T4" y="T5"/>
                </a:cxn>
                <a:cxn ang="0">
                  <a:pos x="T6" y="T7"/>
                </a:cxn>
              </a:cxnLst>
              <a:rect l="0" t="0" r="r" b="b"/>
              <a:pathLst>
                <a:path w="52" h="8">
                  <a:moveTo>
                    <a:pt x="0" y="8"/>
                  </a:moveTo>
                  <a:lnTo>
                    <a:pt x="52" y="8"/>
                  </a:lnTo>
                  <a:lnTo>
                    <a:pt x="5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Rectangle 36"/>
            <p:cNvSpPr>
              <a:spLocks noChangeArrowheads="1"/>
            </p:cNvSpPr>
            <p:nvPr userDrawn="1"/>
          </p:nvSpPr>
          <p:spPr bwMode="auto">
            <a:xfrm>
              <a:off x="8751889" y="3609023"/>
              <a:ext cx="249238" cy="19050"/>
            </a:xfrm>
            <a:prstGeom prst="rect">
              <a:avLst/>
            </a:prstGeom>
            <a:solidFill>
              <a:srgbClr val="5C2D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Rectangle 37"/>
            <p:cNvSpPr>
              <a:spLocks noChangeArrowheads="1"/>
            </p:cNvSpPr>
            <p:nvPr userDrawn="1"/>
          </p:nvSpPr>
          <p:spPr bwMode="auto">
            <a:xfrm>
              <a:off x="9001127" y="3609023"/>
              <a:ext cx="381000" cy="1905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38"/>
            <p:cNvSpPr>
              <a:spLocks noChangeArrowheads="1"/>
            </p:cNvSpPr>
            <p:nvPr userDrawn="1"/>
          </p:nvSpPr>
          <p:spPr bwMode="auto">
            <a:xfrm>
              <a:off x="8751889" y="3688398"/>
              <a:ext cx="630238" cy="1746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39"/>
            <p:cNvSpPr>
              <a:spLocks noChangeArrowheads="1"/>
            </p:cNvSpPr>
            <p:nvPr userDrawn="1"/>
          </p:nvSpPr>
          <p:spPr bwMode="auto">
            <a:xfrm>
              <a:off x="8751889" y="3764598"/>
              <a:ext cx="630238" cy="1746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40"/>
            <p:cNvSpPr>
              <a:spLocks noChangeArrowheads="1"/>
            </p:cNvSpPr>
            <p:nvPr userDrawn="1"/>
          </p:nvSpPr>
          <p:spPr bwMode="auto">
            <a:xfrm>
              <a:off x="8751889" y="3842385"/>
              <a:ext cx="630238" cy="1746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Rectangle 41"/>
            <p:cNvSpPr>
              <a:spLocks noChangeArrowheads="1"/>
            </p:cNvSpPr>
            <p:nvPr userDrawn="1"/>
          </p:nvSpPr>
          <p:spPr bwMode="auto">
            <a:xfrm>
              <a:off x="9099552" y="3842385"/>
              <a:ext cx="282575" cy="19050"/>
            </a:xfrm>
            <a:prstGeom prst="rect">
              <a:avLst/>
            </a:prstGeom>
            <a:solidFill>
              <a:srgbClr val="40C5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2"/>
            <p:cNvSpPr>
              <a:spLocks noChangeArrowheads="1"/>
            </p:cNvSpPr>
            <p:nvPr userDrawn="1"/>
          </p:nvSpPr>
          <p:spPr bwMode="auto">
            <a:xfrm>
              <a:off x="8751889" y="3918585"/>
              <a:ext cx="630238" cy="1905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Rectangle 43"/>
            <p:cNvSpPr>
              <a:spLocks noChangeArrowheads="1"/>
            </p:cNvSpPr>
            <p:nvPr userDrawn="1"/>
          </p:nvSpPr>
          <p:spPr bwMode="auto">
            <a:xfrm>
              <a:off x="8751889" y="3996373"/>
              <a:ext cx="630238" cy="1746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Rectangle 44"/>
            <p:cNvSpPr>
              <a:spLocks noChangeArrowheads="1"/>
            </p:cNvSpPr>
            <p:nvPr userDrawn="1"/>
          </p:nvSpPr>
          <p:spPr bwMode="auto">
            <a:xfrm>
              <a:off x="8751889" y="3996373"/>
              <a:ext cx="347663" cy="174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45"/>
            <p:cNvSpPr>
              <a:spLocks/>
            </p:cNvSpPr>
            <p:nvPr userDrawn="1"/>
          </p:nvSpPr>
          <p:spPr bwMode="auto">
            <a:xfrm>
              <a:off x="8732839" y="3275648"/>
              <a:ext cx="287338" cy="339725"/>
            </a:xfrm>
            <a:custGeom>
              <a:avLst/>
              <a:gdLst>
                <a:gd name="T0" fmla="*/ 164 w 193"/>
                <a:gd name="T1" fmla="*/ 113 h 229"/>
                <a:gd name="T2" fmla="*/ 97 w 193"/>
                <a:gd name="T3" fmla="*/ 229 h 229"/>
                <a:gd name="T4" fmla="*/ 30 w 193"/>
                <a:gd name="T5" fmla="*/ 113 h 229"/>
                <a:gd name="T6" fmla="*/ 95 w 193"/>
                <a:gd name="T7" fmla="*/ 0 h 229"/>
                <a:gd name="T8" fmla="*/ 98 w 193"/>
                <a:gd name="T9" fmla="*/ 0 h 229"/>
                <a:gd name="T10" fmla="*/ 164 w 193"/>
                <a:gd name="T11" fmla="*/ 113 h 229"/>
              </a:gdLst>
              <a:ahLst/>
              <a:cxnLst>
                <a:cxn ang="0">
                  <a:pos x="T0" y="T1"/>
                </a:cxn>
                <a:cxn ang="0">
                  <a:pos x="T2" y="T3"/>
                </a:cxn>
                <a:cxn ang="0">
                  <a:pos x="T4" y="T5"/>
                </a:cxn>
                <a:cxn ang="0">
                  <a:pos x="T6" y="T7"/>
                </a:cxn>
                <a:cxn ang="0">
                  <a:pos x="T8" y="T9"/>
                </a:cxn>
                <a:cxn ang="0">
                  <a:pos x="T10" y="T11"/>
                </a:cxn>
              </a:cxnLst>
              <a:rect l="0" t="0" r="r" b="b"/>
              <a:pathLst>
                <a:path w="193" h="229">
                  <a:moveTo>
                    <a:pt x="164" y="113"/>
                  </a:moveTo>
                  <a:cubicBezTo>
                    <a:pt x="97" y="229"/>
                    <a:pt x="97" y="229"/>
                    <a:pt x="97" y="229"/>
                  </a:cubicBezTo>
                  <a:cubicBezTo>
                    <a:pt x="30" y="113"/>
                    <a:pt x="30" y="113"/>
                    <a:pt x="30" y="113"/>
                  </a:cubicBezTo>
                  <a:cubicBezTo>
                    <a:pt x="0" y="63"/>
                    <a:pt x="37" y="0"/>
                    <a:pt x="95" y="0"/>
                  </a:cubicBezTo>
                  <a:cubicBezTo>
                    <a:pt x="98" y="0"/>
                    <a:pt x="98" y="0"/>
                    <a:pt x="98" y="0"/>
                  </a:cubicBezTo>
                  <a:cubicBezTo>
                    <a:pt x="156" y="0"/>
                    <a:pt x="193" y="63"/>
                    <a:pt x="164" y="113"/>
                  </a:cubicBez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46"/>
            <p:cNvSpPr>
              <a:spLocks/>
            </p:cNvSpPr>
            <p:nvPr userDrawn="1"/>
          </p:nvSpPr>
          <p:spPr bwMode="auto">
            <a:xfrm>
              <a:off x="8815389" y="3312160"/>
              <a:ext cx="120650" cy="217488"/>
            </a:xfrm>
            <a:custGeom>
              <a:avLst/>
              <a:gdLst>
                <a:gd name="T0" fmla="*/ 81 w 81"/>
                <a:gd name="T1" fmla="*/ 78 h 147"/>
                <a:gd name="T2" fmla="*/ 78 w 81"/>
                <a:gd name="T3" fmla="*/ 71 h 147"/>
                <a:gd name="T4" fmla="*/ 78 w 81"/>
                <a:gd name="T5" fmla="*/ 64 h 147"/>
                <a:gd name="T6" fmla="*/ 78 w 81"/>
                <a:gd name="T7" fmla="*/ 57 h 147"/>
                <a:gd name="T8" fmla="*/ 58 w 81"/>
                <a:gd name="T9" fmla="*/ 24 h 147"/>
                <a:gd name="T10" fmla="*/ 59 w 81"/>
                <a:gd name="T11" fmla="*/ 18 h 147"/>
                <a:gd name="T12" fmla="*/ 41 w 81"/>
                <a:gd name="T13" fmla="*/ 0 h 147"/>
                <a:gd name="T14" fmla="*/ 23 w 81"/>
                <a:gd name="T15" fmla="*/ 18 h 147"/>
                <a:gd name="T16" fmla="*/ 23 w 81"/>
                <a:gd name="T17" fmla="*/ 24 h 147"/>
                <a:gd name="T18" fmla="*/ 3 w 81"/>
                <a:gd name="T19" fmla="*/ 57 h 147"/>
                <a:gd name="T20" fmla="*/ 3 w 81"/>
                <a:gd name="T21" fmla="*/ 64 h 147"/>
                <a:gd name="T22" fmla="*/ 3 w 81"/>
                <a:gd name="T23" fmla="*/ 72 h 147"/>
                <a:gd name="T24" fmla="*/ 0 w 81"/>
                <a:gd name="T25" fmla="*/ 78 h 147"/>
                <a:gd name="T26" fmla="*/ 3 w 81"/>
                <a:gd name="T27" fmla="*/ 84 h 147"/>
                <a:gd name="T28" fmla="*/ 3 w 81"/>
                <a:gd name="T29" fmla="*/ 96 h 147"/>
                <a:gd name="T30" fmla="*/ 8 w 81"/>
                <a:gd name="T31" fmla="*/ 110 h 147"/>
                <a:gd name="T32" fmla="*/ 8 w 81"/>
                <a:gd name="T33" fmla="*/ 110 h 147"/>
                <a:gd name="T34" fmla="*/ 8 w 81"/>
                <a:gd name="T35" fmla="*/ 92 h 147"/>
                <a:gd name="T36" fmla="*/ 24 w 81"/>
                <a:gd name="T37" fmla="*/ 111 h 147"/>
                <a:gd name="T38" fmla="*/ 24 w 81"/>
                <a:gd name="T39" fmla="*/ 122 h 147"/>
                <a:gd name="T40" fmla="*/ 15 w 81"/>
                <a:gd name="T41" fmla="*/ 122 h 147"/>
                <a:gd name="T42" fmla="*/ 41 w 81"/>
                <a:gd name="T43" fmla="*/ 147 h 147"/>
                <a:gd name="T44" fmla="*/ 66 w 81"/>
                <a:gd name="T45" fmla="*/ 122 h 147"/>
                <a:gd name="T46" fmla="*/ 58 w 81"/>
                <a:gd name="T47" fmla="*/ 122 h 147"/>
                <a:gd name="T48" fmla="*/ 58 w 81"/>
                <a:gd name="T49" fmla="*/ 111 h 147"/>
                <a:gd name="T50" fmla="*/ 73 w 81"/>
                <a:gd name="T51" fmla="*/ 92 h 147"/>
                <a:gd name="T52" fmla="*/ 73 w 81"/>
                <a:gd name="T53" fmla="*/ 110 h 147"/>
                <a:gd name="T54" fmla="*/ 73 w 81"/>
                <a:gd name="T55" fmla="*/ 110 h 147"/>
                <a:gd name="T56" fmla="*/ 78 w 81"/>
                <a:gd name="T57" fmla="*/ 96 h 147"/>
                <a:gd name="T58" fmla="*/ 78 w 81"/>
                <a:gd name="T59" fmla="*/ 84 h 147"/>
                <a:gd name="T60" fmla="*/ 81 w 81"/>
                <a:gd name="T61" fmla="*/ 7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1" h="147">
                  <a:moveTo>
                    <a:pt x="81" y="78"/>
                  </a:moveTo>
                  <a:cubicBezTo>
                    <a:pt x="81" y="75"/>
                    <a:pt x="80" y="73"/>
                    <a:pt x="78" y="71"/>
                  </a:cubicBezTo>
                  <a:cubicBezTo>
                    <a:pt x="78" y="64"/>
                    <a:pt x="78" y="64"/>
                    <a:pt x="78" y="64"/>
                  </a:cubicBezTo>
                  <a:cubicBezTo>
                    <a:pt x="78" y="57"/>
                    <a:pt x="78" y="57"/>
                    <a:pt x="78" y="57"/>
                  </a:cubicBezTo>
                  <a:cubicBezTo>
                    <a:pt x="78" y="42"/>
                    <a:pt x="70" y="30"/>
                    <a:pt x="58" y="24"/>
                  </a:cubicBezTo>
                  <a:cubicBezTo>
                    <a:pt x="58" y="22"/>
                    <a:pt x="59" y="20"/>
                    <a:pt x="59" y="18"/>
                  </a:cubicBezTo>
                  <a:cubicBezTo>
                    <a:pt x="59" y="8"/>
                    <a:pt x="51" y="0"/>
                    <a:pt x="41" y="0"/>
                  </a:cubicBezTo>
                  <a:cubicBezTo>
                    <a:pt x="31" y="0"/>
                    <a:pt x="23" y="8"/>
                    <a:pt x="23" y="18"/>
                  </a:cubicBezTo>
                  <a:cubicBezTo>
                    <a:pt x="23" y="20"/>
                    <a:pt x="23" y="22"/>
                    <a:pt x="23" y="24"/>
                  </a:cubicBezTo>
                  <a:cubicBezTo>
                    <a:pt x="11" y="30"/>
                    <a:pt x="3" y="42"/>
                    <a:pt x="3" y="57"/>
                  </a:cubicBezTo>
                  <a:cubicBezTo>
                    <a:pt x="3" y="64"/>
                    <a:pt x="3" y="64"/>
                    <a:pt x="3" y="64"/>
                  </a:cubicBezTo>
                  <a:cubicBezTo>
                    <a:pt x="3" y="72"/>
                    <a:pt x="3" y="72"/>
                    <a:pt x="3" y="72"/>
                  </a:cubicBezTo>
                  <a:cubicBezTo>
                    <a:pt x="1" y="73"/>
                    <a:pt x="0" y="75"/>
                    <a:pt x="0" y="78"/>
                  </a:cubicBezTo>
                  <a:cubicBezTo>
                    <a:pt x="0" y="80"/>
                    <a:pt x="1" y="83"/>
                    <a:pt x="3" y="84"/>
                  </a:cubicBezTo>
                  <a:cubicBezTo>
                    <a:pt x="3" y="96"/>
                    <a:pt x="3" y="96"/>
                    <a:pt x="3" y="96"/>
                  </a:cubicBezTo>
                  <a:cubicBezTo>
                    <a:pt x="3" y="101"/>
                    <a:pt x="5" y="106"/>
                    <a:pt x="8" y="110"/>
                  </a:cubicBezTo>
                  <a:cubicBezTo>
                    <a:pt x="8" y="110"/>
                    <a:pt x="8" y="110"/>
                    <a:pt x="8" y="110"/>
                  </a:cubicBezTo>
                  <a:cubicBezTo>
                    <a:pt x="8" y="92"/>
                    <a:pt x="8" y="92"/>
                    <a:pt x="8" y="92"/>
                  </a:cubicBezTo>
                  <a:cubicBezTo>
                    <a:pt x="11" y="100"/>
                    <a:pt x="16" y="107"/>
                    <a:pt x="24" y="111"/>
                  </a:cubicBezTo>
                  <a:cubicBezTo>
                    <a:pt x="24" y="122"/>
                    <a:pt x="24" y="122"/>
                    <a:pt x="24" y="122"/>
                  </a:cubicBezTo>
                  <a:cubicBezTo>
                    <a:pt x="15" y="122"/>
                    <a:pt x="15" y="122"/>
                    <a:pt x="15" y="122"/>
                  </a:cubicBezTo>
                  <a:cubicBezTo>
                    <a:pt x="15" y="136"/>
                    <a:pt x="27" y="147"/>
                    <a:pt x="41" y="147"/>
                  </a:cubicBezTo>
                  <a:cubicBezTo>
                    <a:pt x="55" y="147"/>
                    <a:pt x="66" y="136"/>
                    <a:pt x="66" y="122"/>
                  </a:cubicBezTo>
                  <a:cubicBezTo>
                    <a:pt x="58" y="122"/>
                    <a:pt x="58" y="122"/>
                    <a:pt x="58" y="122"/>
                  </a:cubicBezTo>
                  <a:cubicBezTo>
                    <a:pt x="58" y="111"/>
                    <a:pt x="58" y="111"/>
                    <a:pt x="58" y="111"/>
                  </a:cubicBezTo>
                  <a:cubicBezTo>
                    <a:pt x="65" y="107"/>
                    <a:pt x="70" y="100"/>
                    <a:pt x="73" y="92"/>
                  </a:cubicBezTo>
                  <a:cubicBezTo>
                    <a:pt x="73" y="110"/>
                    <a:pt x="73" y="110"/>
                    <a:pt x="73" y="110"/>
                  </a:cubicBezTo>
                  <a:cubicBezTo>
                    <a:pt x="73" y="110"/>
                    <a:pt x="73" y="110"/>
                    <a:pt x="73" y="110"/>
                  </a:cubicBezTo>
                  <a:cubicBezTo>
                    <a:pt x="76" y="106"/>
                    <a:pt x="78" y="101"/>
                    <a:pt x="78" y="96"/>
                  </a:cubicBezTo>
                  <a:cubicBezTo>
                    <a:pt x="78" y="84"/>
                    <a:pt x="78" y="84"/>
                    <a:pt x="78" y="84"/>
                  </a:cubicBezTo>
                  <a:cubicBezTo>
                    <a:pt x="80" y="83"/>
                    <a:pt x="81" y="80"/>
                    <a:pt x="81"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47"/>
            <p:cNvSpPr>
              <a:spLocks/>
            </p:cNvSpPr>
            <p:nvPr userDrawn="1"/>
          </p:nvSpPr>
          <p:spPr bwMode="auto">
            <a:xfrm>
              <a:off x="9097964" y="3509010"/>
              <a:ext cx="285750" cy="339725"/>
            </a:xfrm>
            <a:custGeom>
              <a:avLst/>
              <a:gdLst>
                <a:gd name="T0" fmla="*/ 163 w 192"/>
                <a:gd name="T1" fmla="*/ 114 h 230"/>
                <a:gd name="T2" fmla="*/ 96 w 192"/>
                <a:gd name="T3" fmla="*/ 230 h 230"/>
                <a:gd name="T4" fmla="*/ 29 w 192"/>
                <a:gd name="T5" fmla="*/ 114 h 230"/>
                <a:gd name="T6" fmla="*/ 95 w 192"/>
                <a:gd name="T7" fmla="*/ 0 h 230"/>
                <a:gd name="T8" fmla="*/ 97 w 192"/>
                <a:gd name="T9" fmla="*/ 0 h 230"/>
                <a:gd name="T10" fmla="*/ 163 w 192"/>
                <a:gd name="T11" fmla="*/ 114 h 230"/>
              </a:gdLst>
              <a:ahLst/>
              <a:cxnLst>
                <a:cxn ang="0">
                  <a:pos x="T0" y="T1"/>
                </a:cxn>
                <a:cxn ang="0">
                  <a:pos x="T2" y="T3"/>
                </a:cxn>
                <a:cxn ang="0">
                  <a:pos x="T4" y="T5"/>
                </a:cxn>
                <a:cxn ang="0">
                  <a:pos x="T6" y="T7"/>
                </a:cxn>
                <a:cxn ang="0">
                  <a:pos x="T8" y="T9"/>
                </a:cxn>
                <a:cxn ang="0">
                  <a:pos x="T10" y="T11"/>
                </a:cxn>
              </a:cxnLst>
              <a:rect l="0" t="0" r="r" b="b"/>
              <a:pathLst>
                <a:path w="192" h="230">
                  <a:moveTo>
                    <a:pt x="163" y="114"/>
                  </a:moveTo>
                  <a:cubicBezTo>
                    <a:pt x="96" y="230"/>
                    <a:pt x="96" y="230"/>
                    <a:pt x="96" y="230"/>
                  </a:cubicBezTo>
                  <a:cubicBezTo>
                    <a:pt x="29" y="114"/>
                    <a:pt x="29" y="114"/>
                    <a:pt x="29" y="114"/>
                  </a:cubicBezTo>
                  <a:cubicBezTo>
                    <a:pt x="0" y="64"/>
                    <a:pt x="36" y="0"/>
                    <a:pt x="95" y="0"/>
                  </a:cubicBezTo>
                  <a:cubicBezTo>
                    <a:pt x="97" y="0"/>
                    <a:pt x="97" y="0"/>
                    <a:pt x="97" y="0"/>
                  </a:cubicBezTo>
                  <a:cubicBezTo>
                    <a:pt x="156" y="0"/>
                    <a:pt x="192" y="63"/>
                    <a:pt x="163" y="114"/>
                  </a:cubicBez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48"/>
            <p:cNvSpPr>
              <a:spLocks/>
            </p:cNvSpPr>
            <p:nvPr userDrawn="1"/>
          </p:nvSpPr>
          <p:spPr bwMode="auto">
            <a:xfrm>
              <a:off x="8782052" y="3664585"/>
              <a:ext cx="285750" cy="339725"/>
            </a:xfrm>
            <a:custGeom>
              <a:avLst/>
              <a:gdLst>
                <a:gd name="T0" fmla="*/ 163 w 192"/>
                <a:gd name="T1" fmla="*/ 114 h 230"/>
                <a:gd name="T2" fmla="*/ 96 w 192"/>
                <a:gd name="T3" fmla="*/ 230 h 230"/>
                <a:gd name="T4" fmla="*/ 29 w 192"/>
                <a:gd name="T5" fmla="*/ 114 h 230"/>
                <a:gd name="T6" fmla="*/ 94 w 192"/>
                <a:gd name="T7" fmla="*/ 0 h 230"/>
                <a:gd name="T8" fmla="*/ 97 w 192"/>
                <a:gd name="T9" fmla="*/ 0 h 230"/>
                <a:gd name="T10" fmla="*/ 163 w 192"/>
                <a:gd name="T11" fmla="*/ 114 h 230"/>
              </a:gdLst>
              <a:ahLst/>
              <a:cxnLst>
                <a:cxn ang="0">
                  <a:pos x="T0" y="T1"/>
                </a:cxn>
                <a:cxn ang="0">
                  <a:pos x="T2" y="T3"/>
                </a:cxn>
                <a:cxn ang="0">
                  <a:pos x="T4" y="T5"/>
                </a:cxn>
                <a:cxn ang="0">
                  <a:pos x="T6" y="T7"/>
                </a:cxn>
                <a:cxn ang="0">
                  <a:pos x="T8" y="T9"/>
                </a:cxn>
                <a:cxn ang="0">
                  <a:pos x="T10" y="T11"/>
                </a:cxn>
              </a:cxnLst>
              <a:rect l="0" t="0" r="r" b="b"/>
              <a:pathLst>
                <a:path w="192" h="230">
                  <a:moveTo>
                    <a:pt x="163" y="114"/>
                  </a:moveTo>
                  <a:cubicBezTo>
                    <a:pt x="96" y="230"/>
                    <a:pt x="96" y="230"/>
                    <a:pt x="96" y="230"/>
                  </a:cubicBezTo>
                  <a:cubicBezTo>
                    <a:pt x="29" y="114"/>
                    <a:pt x="29" y="114"/>
                    <a:pt x="29" y="114"/>
                  </a:cubicBezTo>
                  <a:cubicBezTo>
                    <a:pt x="0" y="64"/>
                    <a:pt x="36" y="0"/>
                    <a:pt x="94" y="0"/>
                  </a:cubicBezTo>
                  <a:cubicBezTo>
                    <a:pt x="97" y="0"/>
                    <a:pt x="97" y="0"/>
                    <a:pt x="97" y="0"/>
                  </a:cubicBezTo>
                  <a:cubicBezTo>
                    <a:pt x="155" y="0"/>
                    <a:pt x="192" y="64"/>
                    <a:pt x="163" y="114"/>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49"/>
            <p:cNvSpPr>
              <a:spLocks noChangeArrowheads="1"/>
            </p:cNvSpPr>
            <p:nvPr userDrawn="1"/>
          </p:nvSpPr>
          <p:spPr bwMode="auto">
            <a:xfrm>
              <a:off x="9520239" y="3521710"/>
              <a:ext cx="157163"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50"/>
            <p:cNvSpPr>
              <a:spLocks/>
            </p:cNvSpPr>
            <p:nvPr userDrawn="1"/>
          </p:nvSpPr>
          <p:spPr bwMode="auto">
            <a:xfrm>
              <a:off x="9520239" y="3521710"/>
              <a:ext cx="157163" cy="12700"/>
            </a:xfrm>
            <a:custGeom>
              <a:avLst/>
              <a:gdLst>
                <a:gd name="T0" fmla="*/ 99 w 99"/>
                <a:gd name="T1" fmla="*/ 0 h 8"/>
                <a:gd name="T2" fmla="*/ 0 w 99"/>
                <a:gd name="T3" fmla="*/ 0 h 8"/>
                <a:gd name="T4" fmla="*/ 0 w 99"/>
                <a:gd name="T5" fmla="*/ 8 h 8"/>
                <a:gd name="T6" fmla="*/ 99 w 99"/>
                <a:gd name="T7" fmla="*/ 8 h 8"/>
              </a:gdLst>
              <a:ahLst/>
              <a:cxnLst>
                <a:cxn ang="0">
                  <a:pos x="T0" y="T1"/>
                </a:cxn>
                <a:cxn ang="0">
                  <a:pos x="T2" y="T3"/>
                </a:cxn>
                <a:cxn ang="0">
                  <a:pos x="T4" y="T5"/>
                </a:cxn>
                <a:cxn ang="0">
                  <a:pos x="T6" y="T7"/>
                </a:cxn>
              </a:cxnLst>
              <a:rect l="0" t="0" r="r" b="b"/>
              <a:pathLst>
                <a:path w="99" h="8">
                  <a:moveTo>
                    <a:pt x="99" y="0"/>
                  </a:moveTo>
                  <a:lnTo>
                    <a:pt x="0" y="0"/>
                  </a:lnTo>
                  <a:lnTo>
                    <a:pt x="0" y="8"/>
                  </a:lnTo>
                  <a:lnTo>
                    <a:pt x="99"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51"/>
            <p:cNvSpPr>
              <a:spLocks/>
            </p:cNvSpPr>
            <p:nvPr userDrawn="1"/>
          </p:nvSpPr>
          <p:spPr bwMode="auto">
            <a:xfrm>
              <a:off x="9177339" y="3545523"/>
              <a:ext cx="127000" cy="201613"/>
            </a:xfrm>
            <a:custGeom>
              <a:avLst/>
              <a:gdLst>
                <a:gd name="T0" fmla="*/ 86 w 86"/>
                <a:gd name="T1" fmla="*/ 62 h 136"/>
                <a:gd name="T2" fmla="*/ 84 w 86"/>
                <a:gd name="T3" fmla="*/ 57 h 136"/>
                <a:gd name="T4" fmla="*/ 84 w 86"/>
                <a:gd name="T5" fmla="*/ 40 h 136"/>
                <a:gd name="T6" fmla="*/ 43 w 86"/>
                <a:gd name="T7" fmla="*/ 0 h 136"/>
                <a:gd name="T8" fmla="*/ 42 w 86"/>
                <a:gd name="T9" fmla="*/ 0 h 136"/>
                <a:gd name="T10" fmla="*/ 2 w 86"/>
                <a:gd name="T11" fmla="*/ 40 h 136"/>
                <a:gd name="T12" fmla="*/ 2 w 86"/>
                <a:gd name="T13" fmla="*/ 57 h 136"/>
                <a:gd name="T14" fmla="*/ 0 w 86"/>
                <a:gd name="T15" fmla="*/ 62 h 136"/>
                <a:gd name="T16" fmla="*/ 2 w 86"/>
                <a:gd name="T17" fmla="*/ 68 h 136"/>
                <a:gd name="T18" fmla="*/ 2 w 86"/>
                <a:gd name="T19" fmla="*/ 102 h 136"/>
                <a:gd name="T20" fmla="*/ 3 w 86"/>
                <a:gd name="T21" fmla="*/ 102 h 136"/>
                <a:gd name="T22" fmla="*/ 23 w 86"/>
                <a:gd name="T23" fmla="*/ 96 h 136"/>
                <a:gd name="T24" fmla="*/ 25 w 86"/>
                <a:gd name="T25" fmla="*/ 97 h 136"/>
                <a:gd name="T26" fmla="*/ 25 w 86"/>
                <a:gd name="T27" fmla="*/ 109 h 136"/>
                <a:gd name="T28" fmla="*/ 16 w 86"/>
                <a:gd name="T29" fmla="*/ 109 h 136"/>
                <a:gd name="T30" fmla="*/ 43 w 86"/>
                <a:gd name="T31" fmla="*/ 136 h 136"/>
                <a:gd name="T32" fmla="*/ 70 w 86"/>
                <a:gd name="T33" fmla="*/ 109 h 136"/>
                <a:gd name="T34" fmla="*/ 61 w 86"/>
                <a:gd name="T35" fmla="*/ 109 h 136"/>
                <a:gd name="T36" fmla="*/ 61 w 86"/>
                <a:gd name="T37" fmla="*/ 97 h 136"/>
                <a:gd name="T38" fmla="*/ 63 w 86"/>
                <a:gd name="T39" fmla="*/ 96 h 136"/>
                <a:gd name="T40" fmla="*/ 83 w 86"/>
                <a:gd name="T41" fmla="*/ 102 h 136"/>
                <a:gd name="T42" fmla="*/ 84 w 86"/>
                <a:gd name="T43" fmla="*/ 102 h 136"/>
                <a:gd name="T44" fmla="*/ 84 w 86"/>
                <a:gd name="T45" fmla="*/ 68 h 136"/>
                <a:gd name="T46" fmla="*/ 86 w 86"/>
                <a:gd name="T47" fmla="*/ 6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136">
                  <a:moveTo>
                    <a:pt x="86" y="62"/>
                  </a:moveTo>
                  <a:cubicBezTo>
                    <a:pt x="86" y="60"/>
                    <a:pt x="85" y="58"/>
                    <a:pt x="84" y="57"/>
                  </a:cubicBezTo>
                  <a:cubicBezTo>
                    <a:pt x="84" y="40"/>
                    <a:pt x="84" y="40"/>
                    <a:pt x="84" y="40"/>
                  </a:cubicBezTo>
                  <a:cubicBezTo>
                    <a:pt x="84" y="18"/>
                    <a:pt x="66" y="0"/>
                    <a:pt x="43" y="0"/>
                  </a:cubicBezTo>
                  <a:cubicBezTo>
                    <a:pt x="42" y="0"/>
                    <a:pt x="42" y="0"/>
                    <a:pt x="42" y="0"/>
                  </a:cubicBezTo>
                  <a:cubicBezTo>
                    <a:pt x="20" y="0"/>
                    <a:pt x="2" y="18"/>
                    <a:pt x="2" y="40"/>
                  </a:cubicBezTo>
                  <a:cubicBezTo>
                    <a:pt x="2" y="57"/>
                    <a:pt x="2" y="57"/>
                    <a:pt x="2" y="57"/>
                  </a:cubicBezTo>
                  <a:cubicBezTo>
                    <a:pt x="1" y="58"/>
                    <a:pt x="0" y="60"/>
                    <a:pt x="0" y="62"/>
                  </a:cubicBezTo>
                  <a:cubicBezTo>
                    <a:pt x="0" y="64"/>
                    <a:pt x="1" y="66"/>
                    <a:pt x="2" y="68"/>
                  </a:cubicBezTo>
                  <a:cubicBezTo>
                    <a:pt x="2" y="102"/>
                    <a:pt x="2" y="102"/>
                    <a:pt x="2" y="102"/>
                  </a:cubicBezTo>
                  <a:cubicBezTo>
                    <a:pt x="3" y="102"/>
                    <a:pt x="3" y="102"/>
                    <a:pt x="3" y="102"/>
                  </a:cubicBezTo>
                  <a:cubicBezTo>
                    <a:pt x="10" y="102"/>
                    <a:pt x="17" y="100"/>
                    <a:pt x="23" y="96"/>
                  </a:cubicBezTo>
                  <a:cubicBezTo>
                    <a:pt x="24" y="97"/>
                    <a:pt x="24" y="97"/>
                    <a:pt x="25" y="97"/>
                  </a:cubicBezTo>
                  <a:cubicBezTo>
                    <a:pt x="25" y="109"/>
                    <a:pt x="25" y="109"/>
                    <a:pt x="25" y="109"/>
                  </a:cubicBezTo>
                  <a:cubicBezTo>
                    <a:pt x="16" y="109"/>
                    <a:pt x="16" y="109"/>
                    <a:pt x="16" y="109"/>
                  </a:cubicBezTo>
                  <a:cubicBezTo>
                    <a:pt x="16" y="124"/>
                    <a:pt x="28" y="136"/>
                    <a:pt x="43" y="136"/>
                  </a:cubicBezTo>
                  <a:cubicBezTo>
                    <a:pt x="58" y="136"/>
                    <a:pt x="70" y="124"/>
                    <a:pt x="70" y="109"/>
                  </a:cubicBezTo>
                  <a:cubicBezTo>
                    <a:pt x="61" y="109"/>
                    <a:pt x="61" y="109"/>
                    <a:pt x="61" y="109"/>
                  </a:cubicBezTo>
                  <a:cubicBezTo>
                    <a:pt x="61" y="97"/>
                    <a:pt x="61" y="97"/>
                    <a:pt x="61" y="97"/>
                  </a:cubicBezTo>
                  <a:cubicBezTo>
                    <a:pt x="61" y="97"/>
                    <a:pt x="62" y="97"/>
                    <a:pt x="63" y="96"/>
                  </a:cubicBezTo>
                  <a:cubicBezTo>
                    <a:pt x="69" y="100"/>
                    <a:pt x="76" y="102"/>
                    <a:pt x="83" y="102"/>
                  </a:cubicBezTo>
                  <a:cubicBezTo>
                    <a:pt x="84" y="102"/>
                    <a:pt x="84" y="102"/>
                    <a:pt x="84" y="102"/>
                  </a:cubicBezTo>
                  <a:cubicBezTo>
                    <a:pt x="84" y="68"/>
                    <a:pt x="84" y="68"/>
                    <a:pt x="84" y="68"/>
                  </a:cubicBezTo>
                  <a:cubicBezTo>
                    <a:pt x="85" y="66"/>
                    <a:pt x="86" y="64"/>
                    <a:pt x="86"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52"/>
            <p:cNvSpPr>
              <a:spLocks/>
            </p:cNvSpPr>
            <p:nvPr userDrawn="1"/>
          </p:nvSpPr>
          <p:spPr bwMode="auto">
            <a:xfrm>
              <a:off x="9677402" y="3001010"/>
              <a:ext cx="939800" cy="1052513"/>
            </a:xfrm>
            <a:custGeom>
              <a:avLst/>
              <a:gdLst>
                <a:gd name="T0" fmla="*/ 591 w 631"/>
                <a:gd name="T1" fmla="*/ 561 h 711"/>
                <a:gd name="T2" fmla="*/ 356 w 631"/>
                <a:gd name="T3" fmla="*/ 697 h 711"/>
                <a:gd name="T4" fmla="*/ 276 w 631"/>
                <a:gd name="T5" fmla="*/ 697 h 711"/>
                <a:gd name="T6" fmla="*/ 40 w 631"/>
                <a:gd name="T7" fmla="*/ 561 h 711"/>
                <a:gd name="T8" fmla="*/ 0 w 631"/>
                <a:gd name="T9" fmla="*/ 492 h 711"/>
                <a:gd name="T10" fmla="*/ 0 w 631"/>
                <a:gd name="T11" fmla="*/ 220 h 711"/>
                <a:gd name="T12" fmla="*/ 40 w 631"/>
                <a:gd name="T13" fmla="*/ 150 h 711"/>
                <a:gd name="T14" fmla="*/ 275 w 631"/>
                <a:gd name="T15" fmla="*/ 14 h 711"/>
                <a:gd name="T16" fmla="*/ 355 w 631"/>
                <a:gd name="T17" fmla="*/ 14 h 711"/>
                <a:gd name="T18" fmla="*/ 591 w 631"/>
                <a:gd name="T19" fmla="*/ 150 h 711"/>
                <a:gd name="T20" fmla="*/ 631 w 631"/>
                <a:gd name="T21" fmla="*/ 219 h 711"/>
                <a:gd name="T22" fmla="*/ 631 w 631"/>
                <a:gd name="T23" fmla="*/ 491 h 711"/>
                <a:gd name="T24" fmla="*/ 591 w 631"/>
                <a:gd name="T25" fmla="*/ 56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1" h="711">
                  <a:moveTo>
                    <a:pt x="591" y="561"/>
                  </a:moveTo>
                  <a:cubicBezTo>
                    <a:pt x="356" y="697"/>
                    <a:pt x="356" y="697"/>
                    <a:pt x="356" y="697"/>
                  </a:cubicBezTo>
                  <a:cubicBezTo>
                    <a:pt x="331" y="711"/>
                    <a:pt x="301" y="711"/>
                    <a:pt x="276" y="697"/>
                  </a:cubicBezTo>
                  <a:cubicBezTo>
                    <a:pt x="40" y="561"/>
                    <a:pt x="40" y="561"/>
                    <a:pt x="40" y="561"/>
                  </a:cubicBezTo>
                  <a:cubicBezTo>
                    <a:pt x="15" y="547"/>
                    <a:pt x="0" y="520"/>
                    <a:pt x="0" y="492"/>
                  </a:cubicBezTo>
                  <a:cubicBezTo>
                    <a:pt x="0" y="220"/>
                    <a:pt x="0" y="220"/>
                    <a:pt x="0" y="220"/>
                  </a:cubicBezTo>
                  <a:cubicBezTo>
                    <a:pt x="0" y="191"/>
                    <a:pt x="15" y="165"/>
                    <a:pt x="40" y="150"/>
                  </a:cubicBezTo>
                  <a:cubicBezTo>
                    <a:pt x="275" y="14"/>
                    <a:pt x="275" y="14"/>
                    <a:pt x="275" y="14"/>
                  </a:cubicBezTo>
                  <a:cubicBezTo>
                    <a:pt x="300" y="0"/>
                    <a:pt x="330" y="0"/>
                    <a:pt x="355" y="14"/>
                  </a:cubicBezTo>
                  <a:cubicBezTo>
                    <a:pt x="591" y="150"/>
                    <a:pt x="591" y="150"/>
                    <a:pt x="591" y="150"/>
                  </a:cubicBezTo>
                  <a:cubicBezTo>
                    <a:pt x="615" y="164"/>
                    <a:pt x="631" y="191"/>
                    <a:pt x="631" y="219"/>
                  </a:cubicBezTo>
                  <a:cubicBezTo>
                    <a:pt x="631" y="491"/>
                    <a:pt x="631" y="491"/>
                    <a:pt x="631" y="491"/>
                  </a:cubicBezTo>
                  <a:cubicBezTo>
                    <a:pt x="631" y="520"/>
                    <a:pt x="616" y="546"/>
                    <a:pt x="591" y="561"/>
                  </a:cubicBezTo>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53"/>
            <p:cNvSpPr>
              <a:spLocks/>
            </p:cNvSpPr>
            <p:nvPr userDrawn="1"/>
          </p:nvSpPr>
          <p:spPr bwMode="auto">
            <a:xfrm>
              <a:off x="9902827" y="3647123"/>
              <a:ext cx="479425" cy="406400"/>
            </a:xfrm>
            <a:custGeom>
              <a:avLst/>
              <a:gdLst>
                <a:gd name="T0" fmla="*/ 0 w 322"/>
                <a:gd name="T1" fmla="*/ 0 h 275"/>
                <a:gd name="T2" fmla="*/ 0 w 322"/>
                <a:gd name="T3" fmla="*/ 189 h 275"/>
                <a:gd name="T4" fmla="*/ 125 w 322"/>
                <a:gd name="T5" fmla="*/ 261 h 275"/>
                <a:gd name="T6" fmla="*/ 205 w 322"/>
                <a:gd name="T7" fmla="*/ 261 h 275"/>
                <a:gd name="T8" fmla="*/ 322 w 322"/>
                <a:gd name="T9" fmla="*/ 193 h 275"/>
                <a:gd name="T10" fmla="*/ 322 w 322"/>
                <a:gd name="T11" fmla="*/ 0 h 275"/>
                <a:gd name="T12" fmla="*/ 0 w 322"/>
                <a:gd name="T13" fmla="*/ 0 h 275"/>
              </a:gdLst>
              <a:ahLst/>
              <a:cxnLst>
                <a:cxn ang="0">
                  <a:pos x="T0" y="T1"/>
                </a:cxn>
                <a:cxn ang="0">
                  <a:pos x="T2" y="T3"/>
                </a:cxn>
                <a:cxn ang="0">
                  <a:pos x="T4" y="T5"/>
                </a:cxn>
                <a:cxn ang="0">
                  <a:pos x="T6" y="T7"/>
                </a:cxn>
                <a:cxn ang="0">
                  <a:pos x="T8" y="T9"/>
                </a:cxn>
                <a:cxn ang="0">
                  <a:pos x="T10" y="T11"/>
                </a:cxn>
                <a:cxn ang="0">
                  <a:pos x="T12" y="T13"/>
                </a:cxn>
              </a:cxnLst>
              <a:rect l="0" t="0" r="r" b="b"/>
              <a:pathLst>
                <a:path w="322" h="275">
                  <a:moveTo>
                    <a:pt x="0" y="0"/>
                  </a:moveTo>
                  <a:cubicBezTo>
                    <a:pt x="0" y="189"/>
                    <a:pt x="0" y="189"/>
                    <a:pt x="0" y="189"/>
                  </a:cubicBezTo>
                  <a:cubicBezTo>
                    <a:pt x="125" y="261"/>
                    <a:pt x="125" y="261"/>
                    <a:pt x="125" y="261"/>
                  </a:cubicBezTo>
                  <a:cubicBezTo>
                    <a:pt x="150" y="275"/>
                    <a:pt x="180" y="275"/>
                    <a:pt x="205" y="261"/>
                  </a:cubicBezTo>
                  <a:cubicBezTo>
                    <a:pt x="322" y="193"/>
                    <a:pt x="322" y="193"/>
                    <a:pt x="322" y="193"/>
                  </a:cubicBezTo>
                  <a:cubicBezTo>
                    <a:pt x="322" y="0"/>
                    <a:pt x="322" y="0"/>
                    <a:pt x="322" y="0"/>
                  </a:cubicBezTo>
                  <a:cubicBezTo>
                    <a:pt x="0" y="0"/>
                    <a:pt x="0" y="0"/>
                    <a:pt x="0" y="0"/>
                  </a:cubicBezTo>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Freeform 54"/>
            <p:cNvSpPr>
              <a:spLocks/>
            </p:cNvSpPr>
            <p:nvPr userDrawn="1"/>
          </p:nvSpPr>
          <p:spPr bwMode="auto">
            <a:xfrm>
              <a:off x="9783764" y="2961323"/>
              <a:ext cx="34925" cy="687388"/>
            </a:xfrm>
            <a:custGeom>
              <a:avLst/>
              <a:gdLst>
                <a:gd name="T0" fmla="*/ 0 w 22"/>
                <a:gd name="T1" fmla="*/ 0 h 433"/>
                <a:gd name="T2" fmla="*/ 0 w 22"/>
                <a:gd name="T3" fmla="*/ 433 h 433"/>
                <a:gd name="T4" fmla="*/ 22 w 22"/>
                <a:gd name="T5" fmla="*/ 433 h 433"/>
                <a:gd name="T6" fmla="*/ 22 w 22"/>
                <a:gd name="T7" fmla="*/ 429 h 433"/>
                <a:gd name="T8" fmla="*/ 3 w 22"/>
                <a:gd name="T9" fmla="*/ 429 h 433"/>
                <a:gd name="T10" fmla="*/ 3 w 22"/>
                <a:gd name="T11" fmla="*/ 0 h 433"/>
                <a:gd name="T12" fmla="*/ 0 w 22"/>
                <a:gd name="T13" fmla="*/ 0 h 433"/>
                <a:gd name="T14" fmla="*/ 0 w 22"/>
                <a:gd name="T15" fmla="*/ 0 h 4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33">
                  <a:moveTo>
                    <a:pt x="0" y="0"/>
                  </a:moveTo>
                  <a:lnTo>
                    <a:pt x="0" y="433"/>
                  </a:lnTo>
                  <a:lnTo>
                    <a:pt x="22" y="433"/>
                  </a:lnTo>
                  <a:lnTo>
                    <a:pt x="22" y="429"/>
                  </a:lnTo>
                  <a:lnTo>
                    <a:pt x="3" y="429"/>
                  </a:lnTo>
                  <a:lnTo>
                    <a:pt x="3" y="0"/>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55"/>
            <p:cNvSpPr>
              <a:spLocks noChangeArrowheads="1"/>
            </p:cNvSpPr>
            <p:nvPr userDrawn="1"/>
          </p:nvSpPr>
          <p:spPr bwMode="auto">
            <a:xfrm>
              <a:off x="8996364" y="3129598"/>
              <a:ext cx="396875" cy="22225"/>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56"/>
            <p:cNvSpPr>
              <a:spLocks noChangeArrowheads="1"/>
            </p:cNvSpPr>
            <p:nvPr userDrawn="1"/>
          </p:nvSpPr>
          <p:spPr bwMode="auto">
            <a:xfrm>
              <a:off x="8758239" y="3129598"/>
              <a:ext cx="79375" cy="22225"/>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57"/>
            <p:cNvSpPr>
              <a:spLocks noChangeArrowheads="1"/>
            </p:cNvSpPr>
            <p:nvPr userDrawn="1"/>
          </p:nvSpPr>
          <p:spPr bwMode="auto">
            <a:xfrm>
              <a:off x="8877302" y="3129598"/>
              <a:ext cx="80963" cy="22225"/>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Rectangle 58"/>
            <p:cNvSpPr>
              <a:spLocks noChangeArrowheads="1"/>
            </p:cNvSpPr>
            <p:nvPr userDrawn="1"/>
          </p:nvSpPr>
          <p:spPr bwMode="auto">
            <a:xfrm>
              <a:off x="9336089" y="2947035"/>
              <a:ext cx="73025"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59"/>
            <p:cNvSpPr>
              <a:spLocks/>
            </p:cNvSpPr>
            <p:nvPr userDrawn="1"/>
          </p:nvSpPr>
          <p:spPr bwMode="auto">
            <a:xfrm>
              <a:off x="9336089" y="2947035"/>
              <a:ext cx="73025" cy="6350"/>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Rectangle 60"/>
            <p:cNvSpPr>
              <a:spLocks noChangeArrowheads="1"/>
            </p:cNvSpPr>
            <p:nvPr userDrawn="1"/>
          </p:nvSpPr>
          <p:spPr bwMode="auto">
            <a:xfrm>
              <a:off x="9336089" y="2967673"/>
              <a:ext cx="73025"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1"/>
            <p:cNvSpPr>
              <a:spLocks/>
            </p:cNvSpPr>
            <p:nvPr userDrawn="1"/>
          </p:nvSpPr>
          <p:spPr bwMode="auto">
            <a:xfrm>
              <a:off x="9336089" y="2967673"/>
              <a:ext cx="73025" cy="6350"/>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Rectangle 62"/>
            <p:cNvSpPr>
              <a:spLocks noChangeArrowheads="1"/>
            </p:cNvSpPr>
            <p:nvPr userDrawn="1"/>
          </p:nvSpPr>
          <p:spPr bwMode="auto">
            <a:xfrm>
              <a:off x="9336089" y="2988310"/>
              <a:ext cx="73025"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63"/>
            <p:cNvSpPr>
              <a:spLocks/>
            </p:cNvSpPr>
            <p:nvPr userDrawn="1"/>
          </p:nvSpPr>
          <p:spPr bwMode="auto">
            <a:xfrm>
              <a:off x="9336089" y="2988310"/>
              <a:ext cx="73025" cy="6350"/>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64"/>
            <p:cNvSpPr>
              <a:spLocks/>
            </p:cNvSpPr>
            <p:nvPr userDrawn="1"/>
          </p:nvSpPr>
          <p:spPr bwMode="auto">
            <a:xfrm>
              <a:off x="8853489" y="3704273"/>
              <a:ext cx="141288" cy="214313"/>
            </a:xfrm>
            <a:custGeom>
              <a:avLst/>
              <a:gdLst>
                <a:gd name="T0" fmla="*/ 95 w 95"/>
                <a:gd name="T1" fmla="*/ 69 h 145"/>
                <a:gd name="T2" fmla="*/ 93 w 95"/>
                <a:gd name="T3" fmla="*/ 63 h 145"/>
                <a:gd name="T4" fmla="*/ 93 w 95"/>
                <a:gd name="T5" fmla="*/ 45 h 145"/>
                <a:gd name="T6" fmla="*/ 48 w 95"/>
                <a:gd name="T7" fmla="*/ 0 h 145"/>
                <a:gd name="T8" fmla="*/ 47 w 95"/>
                <a:gd name="T9" fmla="*/ 0 h 145"/>
                <a:gd name="T10" fmla="*/ 3 w 95"/>
                <a:gd name="T11" fmla="*/ 45 h 145"/>
                <a:gd name="T12" fmla="*/ 3 w 95"/>
                <a:gd name="T13" fmla="*/ 63 h 145"/>
                <a:gd name="T14" fmla="*/ 0 w 95"/>
                <a:gd name="T15" fmla="*/ 69 h 145"/>
                <a:gd name="T16" fmla="*/ 9 w 95"/>
                <a:gd name="T17" fmla="*/ 78 h 145"/>
                <a:gd name="T18" fmla="*/ 9 w 95"/>
                <a:gd name="T19" fmla="*/ 80 h 145"/>
                <a:gd name="T20" fmla="*/ 24 w 95"/>
                <a:gd name="T21" fmla="*/ 112 h 145"/>
                <a:gd name="T22" fmla="*/ 24 w 95"/>
                <a:gd name="T23" fmla="*/ 121 h 145"/>
                <a:gd name="T24" fmla="*/ 48 w 95"/>
                <a:gd name="T25" fmla="*/ 145 h 145"/>
                <a:gd name="T26" fmla="*/ 48 w 95"/>
                <a:gd name="T27" fmla="*/ 145 h 145"/>
                <a:gd name="T28" fmla="*/ 72 w 95"/>
                <a:gd name="T29" fmla="*/ 121 h 145"/>
                <a:gd name="T30" fmla="*/ 72 w 95"/>
                <a:gd name="T31" fmla="*/ 112 h 145"/>
                <a:gd name="T32" fmla="*/ 87 w 95"/>
                <a:gd name="T33" fmla="*/ 80 h 145"/>
                <a:gd name="T34" fmla="*/ 87 w 95"/>
                <a:gd name="T35" fmla="*/ 78 h 145"/>
                <a:gd name="T36" fmla="*/ 95 w 95"/>
                <a:gd name="T37" fmla="*/ 6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 h="145">
                  <a:moveTo>
                    <a:pt x="95" y="69"/>
                  </a:moveTo>
                  <a:cubicBezTo>
                    <a:pt x="95" y="67"/>
                    <a:pt x="94" y="65"/>
                    <a:pt x="93" y="63"/>
                  </a:cubicBezTo>
                  <a:cubicBezTo>
                    <a:pt x="93" y="45"/>
                    <a:pt x="93" y="45"/>
                    <a:pt x="93" y="45"/>
                  </a:cubicBezTo>
                  <a:cubicBezTo>
                    <a:pt x="93" y="20"/>
                    <a:pt x="73" y="0"/>
                    <a:pt x="48" y="0"/>
                  </a:cubicBezTo>
                  <a:cubicBezTo>
                    <a:pt x="47" y="0"/>
                    <a:pt x="47" y="0"/>
                    <a:pt x="47" y="0"/>
                  </a:cubicBezTo>
                  <a:cubicBezTo>
                    <a:pt x="23" y="0"/>
                    <a:pt x="3" y="20"/>
                    <a:pt x="3" y="45"/>
                  </a:cubicBezTo>
                  <a:cubicBezTo>
                    <a:pt x="3" y="63"/>
                    <a:pt x="3" y="63"/>
                    <a:pt x="3" y="63"/>
                  </a:cubicBezTo>
                  <a:cubicBezTo>
                    <a:pt x="1" y="65"/>
                    <a:pt x="0" y="67"/>
                    <a:pt x="0" y="69"/>
                  </a:cubicBezTo>
                  <a:cubicBezTo>
                    <a:pt x="0" y="74"/>
                    <a:pt x="4" y="78"/>
                    <a:pt x="9" y="78"/>
                  </a:cubicBezTo>
                  <a:cubicBezTo>
                    <a:pt x="9" y="80"/>
                    <a:pt x="9" y="80"/>
                    <a:pt x="9" y="80"/>
                  </a:cubicBezTo>
                  <a:cubicBezTo>
                    <a:pt x="8" y="93"/>
                    <a:pt x="14" y="105"/>
                    <a:pt x="24" y="112"/>
                  </a:cubicBezTo>
                  <a:cubicBezTo>
                    <a:pt x="24" y="121"/>
                    <a:pt x="24" y="121"/>
                    <a:pt x="24" y="121"/>
                  </a:cubicBezTo>
                  <a:cubicBezTo>
                    <a:pt x="24" y="134"/>
                    <a:pt x="34" y="145"/>
                    <a:pt x="48" y="145"/>
                  </a:cubicBezTo>
                  <a:cubicBezTo>
                    <a:pt x="48" y="145"/>
                    <a:pt x="48" y="145"/>
                    <a:pt x="48" y="145"/>
                  </a:cubicBezTo>
                  <a:cubicBezTo>
                    <a:pt x="61" y="145"/>
                    <a:pt x="72" y="134"/>
                    <a:pt x="72" y="121"/>
                  </a:cubicBezTo>
                  <a:cubicBezTo>
                    <a:pt x="72" y="112"/>
                    <a:pt x="72" y="112"/>
                    <a:pt x="72" y="112"/>
                  </a:cubicBezTo>
                  <a:cubicBezTo>
                    <a:pt x="82" y="105"/>
                    <a:pt x="88" y="93"/>
                    <a:pt x="87" y="80"/>
                  </a:cubicBezTo>
                  <a:cubicBezTo>
                    <a:pt x="87" y="78"/>
                    <a:pt x="87" y="78"/>
                    <a:pt x="87" y="78"/>
                  </a:cubicBezTo>
                  <a:cubicBezTo>
                    <a:pt x="92" y="78"/>
                    <a:pt x="95" y="74"/>
                    <a:pt x="95"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5"/>
            <p:cNvSpPr>
              <a:spLocks/>
            </p:cNvSpPr>
            <p:nvPr userDrawn="1"/>
          </p:nvSpPr>
          <p:spPr bwMode="auto">
            <a:xfrm>
              <a:off x="9769477" y="3401060"/>
              <a:ext cx="741363" cy="511175"/>
            </a:xfrm>
            <a:custGeom>
              <a:avLst/>
              <a:gdLst>
                <a:gd name="T0" fmla="*/ 497 w 498"/>
                <a:gd name="T1" fmla="*/ 298 h 345"/>
                <a:gd name="T2" fmla="*/ 466 w 498"/>
                <a:gd name="T3" fmla="*/ 81 h 345"/>
                <a:gd name="T4" fmla="*/ 371 w 498"/>
                <a:gd name="T5" fmla="*/ 0 h 345"/>
                <a:gd name="T6" fmla="*/ 127 w 498"/>
                <a:gd name="T7" fmla="*/ 0 h 345"/>
                <a:gd name="T8" fmla="*/ 33 w 498"/>
                <a:gd name="T9" fmla="*/ 81 h 345"/>
                <a:gd name="T10" fmla="*/ 0 w 498"/>
                <a:gd name="T11" fmla="*/ 304 h 345"/>
                <a:gd name="T12" fmla="*/ 71 w 498"/>
                <a:gd name="T13" fmla="*/ 345 h 345"/>
                <a:gd name="T14" fmla="*/ 490 w 498"/>
                <a:gd name="T15" fmla="*/ 306 h 345"/>
                <a:gd name="T16" fmla="*/ 497 w 498"/>
                <a:gd name="T17" fmla="*/ 298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 h="345">
                  <a:moveTo>
                    <a:pt x="497" y="298"/>
                  </a:moveTo>
                  <a:cubicBezTo>
                    <a:pt x="466" y="81"/>
                    <a:pt x="466" y="81"/>
                    <a:pt x="466" y="81"/>
                  </a:cubicBezTo>
                  <a:cubicBezTo>
                    <a:pt x="459" y="34"/>
                    <a:pt x="419" y="0"/>
                    <a:pt x="371" y="0"/>
                  </a:cubicBezTo>
                  <a:cubicBezTo>
                    <a:pt x="127" y="0"/>
                    <a:pt x="127" y="0"/>
                    <a:pt x="127" y="0"/>
                  </a:cubicBezTo>
                  <a:cubicBezTo>
                    <a:pt x="80" y="0"/>
                    <a:pt x="40" y="34"/>
                    <a:pt x="33" y="81"/>
                  </a:cubicBezTo>
                  <a:cubicBezTo>
                    <a:pt x="0" y="304"/>
                    <a:pt x="0" y="304"/>
                    <a:pt x="0" y="304"/>
                  </a:cubicBezTo>
                  <a:cubicBezTo>
                    <a:pt x="71" y="345"/>
                    <a:pt x="71" y="345"/>
                    <a:pt x="71" y="345"/>
                  </a:cubicBezTo>
                  <a:cubicBezTo>
                    <a:pt x="490" y="306"/>
                    <a:pt x="490" y="306"/>
                    <a:pt x="490" y="306"/>
                  </a:cubicBezTo>
                  <a:cubicBezTo>
                    <a:pt x="494" y="306"/>
                    <a:pt x="498" y="302"/>
                    <a:pt x="497" y="298"/>
                  </a:cubicBezTo>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66"/>
            <p:cNvSpPr>
              <a:spLocks/>
            </p:cNvSpPr>
            <p:nvPr userDrawn="1"/>
          </p:nvSpPr>
          <p:spPr bwMode="auto">
            <a:xfrm>
              <a:off x="9786939" y="3401060"/>
              <a:ext cx="708025" cy="334963"/>
            </a:xfrm>
            <a:custGeom>
              <a:avLst/>
              <a:gdLst>
                <a:gd name="T0" fmla="*/ 475 w 475"/>
                <a:gd name="T1" fmla="*/ 226 h 226"/>
                <a:gd name="T2" fmla="*/ 454 w 475"/>
                <a:gd name="T3" fmla="*/ 81 h 226"/>
                <a:gd name="T4" fmla="*/ 359 w 475"/>
                <a:gd name="T5" fmla="*/ 0 h 226"/>
                <a:gd name="T6" fmla="*/ 115 w 475"/>
                <a:gd name="T7" fmla="*/ 0 h 226"/>
                <a:gd name="T8" fmla="*/ 21 w 475"/>
                <a:gd name="T9" fmla="*/ 81 h 226"/>
                <a:gd name="T10" fmla="*/ 0 w 475"/>
                <a:gd name="T11" fmla="*/ 226 h 226"/>
                <a:gd name="T12" fmla="*/ 475 w 475"/>
                <a:gd name="T13" fmla="*/ 226 h 226"/>
              </a:gdLst>
              <a:ahLst/>
              <a:cxnLst>
                <a:cxn ang="0">
                  <a:pos x="T0" y="T1"/>
                </a:cxn>
                <a:cxn ang="0">
                  <a:pos x="T2" y="T3"/>
                </a:cxn>
                <a:cxn ang="0">
                  <a:pos x="T4" y="T5"/>
                </a:cxn>
                <a:cxn ang="0">
                  <a:pos x="T6" y="T7"/>
                </a:cxn>
                <a:cxn ang="0">
                  <a:pos x="T8" y="T9"/>
                </a:cxn>
                <a:cxn ang="0">
                  <a:pos x="T10" y="T11"/>
                </a:cxn>
                <a:cxn ang="0">
                  <a:pos x="T12" y="T13"/>
                </a:cxn>
              </a:cxnLst>
              <a:rect l="0" t="0" r="r" b="b"/>
              <a:pathLst>
                <a:path w="475" h="226">
                  <a:moveTo>
                    <a:pt x="475" y="226"/>
                  </a:moveTo>
                  <a:cubicBezTo>
                    <a:pt x="454" y="81"/>
                    <a:pt x="454" y="81"/>
                    <a:pt x="454" y="81"/>
                  </a:cubicBezTo>
                  <a:cubicBezTo>
                    <a:pt x="447" y="34"/>
                    <a:pt x="407" y="0"/>
                    <a:pt x="359" y="0"/>
                  </a:cubicBezTo>
                  <a:cubicBezTo>
                    <a:pt x="115" y="0"/>
                    <a:pt x="115" y="0"/>
                    <a:pt x="115" y="0"/>
                  </a:cubicBezTo>
                  <a:cubicBezTo>
                    <a:pt x="68" y="0"/>
                    <a:pt x="28" y="34"/>
                    <a:pt x="21" y="81"/>
                  </a:cubicBezTo>
                  <a:cubicBezTo>
                    <a:pt x="0" y="226"/>
                    <a:pt x="0" y="226"/>
                    <a:pt x="0" y="226"/>
                  </a:cubicBezTo>
                  <a:cubicBezTo>
                    <a:pt x="475" y="226"/>
                    <a:pt x="475" y="226"/>
                    <a:pt x="475" y="226"/>
                  </a:cubicBezTo>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67"/>
            <p:cNvSpPr>
              <a:spLocks/>
            </p:cNvSpPr>
            <p:nvPr userDrawn="1"/>
          </p:nvSpPr>
          <p:spPr bwMode="auto">
            <a:xfrm>
              <a:off x="9988552" y="3264535"/>
              <a:ext cx="306388" cy="288925"/>
            </a:xfrm>
            <a:custGeom>
              <a:avLst/>
              <a:gdLst>
                <a:gd name="T0" fmla="*/ 172 w 206"/>
                <a:gd name="T1" fmla="*/ 73 h 195"/>
                <a:gd name="T2" fmla="*/ 172 w 206"/>
                <a:gd name="T3" fmla="*/ 0 h 195"/>
                <a:gd name="T4" fmla="*/ 33 w 206"/>
                <a:gd name="T5" fmla="*/ 0 h 195"/>
                <a:gd name="T6" fmla="*/ 33 w 206"/>
                <a:gd name="T7" fmla="*/ 73 h 195"/>
                <a:gd name="T8" fmla="*/ 14 w 206"/>
                <a:gd name="T9" fmla="*/ 92 h 195"/>
                <a:gd name="T10" fmla="*/ 0 w 206"/>
                <a:gd name="T11" fmla="*/ 92 h 195"/>
                <a:gd name="T12" fmla="*/ 103 w 206"/>
                <a:gd name="T13" fmla="*/ 195 h 195"/>
                <a:gd name="T14" fmla="*/ 206 w 206"/>
                <a:gd name="T15" fmla="*/ 92 h 195"/>
                <a:gd name="T16" fmla="*/ 191 w 206"/>
                <a:gd name="T17" fmla="*/ 92 h 195"/>
                <a:gd name="T18" fmla="*/ 172 w 206"/>
                <a:gd name="T19" fmla="*/ 7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195">
                  <a:moveTo>
                    <a:pt x="172" y="73"/>
                  </a:moveTo>
                  <a:cubicBezTo>
                    <a:pt x="172" y="0"/>
                    <a:pt x="172" y="0"/>
                    <a:pt x="172" y="0"/>
                  </a:cubicBezTo>
                  <a:cubicBezTo>
                    <a:pt x="33" y="0"/>
                    <a:pt x="33" y="0"/>
                    <a:pt x="33" y="0"/>
                  </a:cubicBezTo>
                  <a:cubicBezTo>
                    <a:pt x="33" y="73"/>
                    <a:pt x="33" y="73"/>
                    <a:pt x="33" y="73"/>
                  </a:cubicBezTo>
                  <a:cubicBezTo>
                    <a:pt x="33" y="83"/>
                    <a:pt x="25" y="92"/>
                    <a:pt x="14" y="92"/>
                  </a:cubicBezTo>
                  <a:cubicBezTo>
                    <a:pt x="0" y="92"/>
                    <a:pt x="0" y="92"/>
                    <a:pt x="0" y="92"/>
                  </a:cubicBezTo>
                  <a:cubicBezTo>
                    <a:pt x="0" y="148"/>
                    <a:pt x="46" y="195"/>
                    <a:pt x="103" y="195"/>
                  </a:cubicBezTo>
                  <a:cubicBezTo>
                    <a:pt x="159" y="195"/>
                    <a:pt x="206" y="148"/>
                    <a:pt x="206" y="92"/>
                  </a:cubicBezTo>
                  <a:cubicBezTo>
                    <a:pt x="191" y="92"/>
                    <a:pt x="191" y="92"/>
                    <a:pt x="191" y="92"/>
                  </a:cubicBezTo>
                  <a:cubicBezTo>
                    <a:pt x="180" y="92"/>
                    <a:pt x="172" y="83"/>
                    <a:pt x="172" y="73"/>
                  </a:cubicBezTo>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68"/>
            <p:cNvSpPr>
              <a:spLocks/>
            </p:cNvSpPr>
            <p:nvPr userDrawn="1"/>
          </p:nvSpPr>
          <p:spPr bwMode="auto">
            <a:xfrm>
              <a:off x="10037764" y="3261360"/>
              <a:ext cx="206375" cy="123825"/>
            </a:xfrm>
            <a:custGeom>
              <a:avLst/>
              <a:gdLst>
                <a:gd name="T0" fmla="*/ 139 w 139"/>
                <a:gd name="T1" fmla="*/ 21 h 84"/>
                <a:gd name="T2" fmla="*/ 139 w 139"/>
                <a:gd name="T3" fmla="*/ 0 h 84"/>
                <a:gd name="T4" fmla="*/ 0 w 139"/>
                <a:gd name="T5" fmla="*/ 0 h 84"/>
                <a:gd name="T6" fmla="*/ 0 w 139"/>
                <a:gd name="T7" fmla="*/ 82 h 84"/>
                <a:gd name="T8" fmla="*/ 139 w 139"/>
                <a:gd name="T9" fmla="*/ 21 h 84"/>
              </a:gdLst>
              <a:ahLst/>
              <a:cxnLst>
                <a:cxn ang="0">
                  <a:pos x="T0" y="T1"/>
                </a:cxn>
                <a:cxn ang="0">
                  <a:pos x="T2" y="T3"/>
                </a:cxn>
                <a:cxn ang="0">
                  <a:pos x="T4" y="T5"/>
                </a:cxn>
                <a:cxn ang="0">
                  <a:pos x="T6" y="T7"/>
                </a:cxn>
                <a:cxn ang="0">
                  <a:pos x="T8" y="T9"/>
                </a:cxn>
              </a:cxnLst>
              <a:rect l="0" t="0" r="r" b="b"/>
              <a:pathLst>
                <a:path w="139" h="84">
                  <a:moveTo>
                    <a:pt x="139" y="21"/>
                  </a:moveTo>
                  <a:cubicBezTo>
                    <a:pt x="139" y="0"/>
                    <a:pt x="139" y="0"/>
                    <a:pt x="139" y="0"/>
                  </a:cubicBezTo>
                  <a:cubicBezTo>
                    <a:pt x="0" y="0"/>
                    <a:pt x="0" y="0"/>
                    <a:pt x="0" y="0"/>
                  </a:cubicBezTo>
                  <a:cubicBezTo>
                    <a:pt x="0" y="82"/>
                    <a:pt x="0" y="82"/>
                    <a:pt x="0" y="82"/>
                  </a:cubicBezTo>
                  <a:cubicBezTo>
                    <a:pt x="95" y="84"/>
                    <a:pt x="139" y="21"/>
                    <a:pt x="139" y="21"/>
                  </a:cubicBezTo>
                  <a:close/>
                </a:path>
              </a:pathLst>
            </a:custGeom>
            <a:solidFill>
              <a:srgbClr val="B38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69"/>
            <p:cNvSpPr>
              <a:spLocks/>
            </p:cNvSpPr>
            <p:nvPr userDrawn="1"/>
          </p:nvSpPr>
          <p:spPr bwMode="auto">
            <a:xfrm>
              <a:off x="9907589" y="2824798"/>
              <a:ext cx="501650" cy="496888"/>
            </a:xfrm>
            <a:custGeom>
              <a:avLst/>
              <a:gdLst>
                <a:gd name="T0" fmla="*/ 329 w 336"/>
                <a:gd name="T1" fmla="*/ 179 h 335"/>
                <a:gd name="T2" fmla="*/ 156 w 336"/>
                <a:gd name="T3" fmla="*/ 328 h 335"/>
                <a:gd name="T4" fmla="*/ 7 w 336"/>
                <a:gd name="T5" fmla="*/ 155 h 335"/>
                <a:gd name="T6" fmla="*/ 180 w 336"/>
                <a:gd name="T7" fmla="*/ 6 h 335"/>
                <a:gd name="T8" fmla="*/ 329 w 336"/>
                <a:gd name="T9" fmla="*/ 179 h 335"/>
              </a:gdLst>
              <a:ahLst/>
              <a:cxnLst>
                <a:cxn ang="0">
                  <a:pos x="T0" y="T1"/>
                </a:cxn>
                <a:cxn ang="0">
                  <a:pos x="T2" y="T3"/>
                </a:cxn>
                <a:cxn ang="0">
                  <a:pos x="T4" y="T5"/>
                </a:cxn>
                <a:cxn ang="0">
                  <a:pos x="T6" y="T7"/>
                </a:cxn>
                <a:cxn ang="0">
                  <a:pos x="T8" y="T9"/>
                </a:cxn>
              </a:cxnLst>
              <a:rect l="0" t="0" r="r" b="b"/>
              <a:pathLst>
                <a:path w="336" h="335">
                  <a:moveTo>
                    <a:pt x="329" y="179"/>
                  </a:moveTo>
                  <a:cubicBezTo>
                    <a:pt x="322" y="268"/>
                    <a:pt x="245" y="335"/>
                    <a:pt x="156" y="328"/>
                  </a:cubicBezTo>
                  <a:cubicBezTo>
                    <a:pt x="67" y="321"/>
                    <a:pt x="0" y="244"/>
                    <a:pt x="7" y="155"/>
                  </a:cubicBezTo>
                  <a:cubicBezTo>
                    <a:pt x="14" y="66"/>
                    <a:pt x="91" y="0"/>
                    <a:pt x="180" y="6"/>
                  </a:cubicBezTo>
                  <a:cubicBezTo>
                    <a:pt x="269" y="13"/>
                    <a:pt x="336" y="91"/>
                    <a:pt x="329" y="179"/>
                  </a:cubicBezTo>
                  <a:close/>
                </a:path>
              </a:pathLst>
            </a:cu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70"/>
            <p:cNvSpPr>
              <a:spLocks/>
            </p:cNvSpPr>
            <p:nvPr userDrawn="1"/>
          </p:nvSpPr>
          <p:spPr bwMode="auto">
            <a:xfrm>
              <a:off x="9934577" y="2959735"/>
              <a:ext cx="357188" cy="393700"/>
            </a:xfrm>
            <a:custGeom>
              <a:avLst/>
              <a:gdLst>
                <a:gd name="T0" fmla="*/ 99 w 239"/>
                <a:gd name="T1" fmla="*/ 261 h 265"/>
                <a:gd name="T2" fmla="*/ 99 w 239"/>
                <a:gd name="T3" fmla="*/ 261 h 265"/>
                <a:gd name="T4" fmla="*/ 4 w 239"/>
                <a:gd name="T5" fmla="*/ 137 h 265"/>
                <a:gd name="T6" fmla="*/ 14 w 239"/>
                <a:gd name="T7" fmla="*/ 0 h 265"/>
                <a:gd name="T8" fmla="*/ 239 w 239"/>
                <a:gd name="T9" fmla="*/ 17 h 265"/>
                <a:gd name="T10" fmla="*/ 229 w 239"/>
                <a:gd name="T11" fmla="*/ 154 h 265"/>
                <a:gd name="T12" fmla="*/ 99 w 239"/>
                <a:gd name="T13" fmla="*/ 261 h 265"/>
              </a:gdLst>
              <a:ahLst/>
              <a:cxnLst>
                <a:cxn ang="0">
                  <a:pos x="T0" y="T1"/>
                </a:cxn>
                <a:cxn ang="0">
                  <a:pos x="T2" y="T3"/>
                </a:cxn>
                <a:cxn ang="0">
                  <a:pos x="T4" y="T5"/>
                </a:cxn>
                <a:cxn ang="0">
                  <a:pos x="T6" y="T7"/>
                </a:cxn>
                <a:cxn ang="0">
                  <a:pos x="T8" y="T9"/>
                </a:cxn>
                <a:cxn ang="0">
                  <a:pos x="T10" y="T11"/>
                </a:cxn>
                <a:cxn ang="0">
                  <a:pos x="T12" y="T13"/>
                </a:cxn>
              </a:cxnLst>
              <a:rect l="0" t="0" r="r" b="b"/>
              <a:pathLst>
                <a:path w="239" h="265">
                  <a:moveTo>
                    <a:pt x="99" y="261"/>
                  </a:moveTo>
                  <a:cubicBezTo>
                    <a:pt x="99" y="261"/>
                    <a:pt x="99" y="261"/>
                    <a:pt x="99" y="261"/>
                  </a:cubicBezTo>
                  <a:cubicBezTo>
                    <a:pt x="42" y="256"/>
                    <a:pt x="0" y="195"/>
                    <a:pt x="4" y="137"/>
                  </a:cubicBezTo>
                  <a:cubicBezTo>
                    <a:pt x="14" y="0"/>
                    <a:pt x="14" y="0"/>
                    <a:pt x="14" y="0"/>
                  </a:cubicBezTo>
                  <a:cubicBezTo>
                    <a:pt x="239" y="17"/>
                    <a:pt x="239" y="17"/>
                    <a:pt x="239" y="17"/>
                  </a:cubicBezTo>
                  <a:cubicBezTo>
                    <a:pt x="229" y="154"/>
                    <a:pt x="229" y="154"/>
                    <a:pt x="229" y="154"/>
                  </a:cubicBezTo>
                  <a:cubicBezTo>
                    <a:pt x="224" y="227"/>
                    <a:pt x="156" y="265"/>
                    <a:pt x="99" y="261"/>
                  </a:cubicBez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71"/>
            <p:cNvSpPr>
              <a:spLocks/>
            </p:cNvSpPr>
            <p:nvPr userDrawn="1"/>
          </p:nvSpPr>
          <p:spPr bwMode="auto">
            <a:xfrm>
              <a:off x="9936164" y="3043873"/>
              <a:ext cx="193675" cy="290513"/>
            </a:xfrm>
            <a:custGeom>
              <a:avLst/>
              <a:gdLst>
                <a:gd name="T0" fmla="*/ 87 w 130"/>
                <a:gd name="T1" fmla="*/ 98 h 196"/>
                <a:gd name="T2" fmla="*/ 80 w 130"/>
                <a:gd name="T3" fmla="*/ 89 h 196"/>
                <a:gd name="T4" fmla="*/ 83 w 130"/>
                <a:gd name="T5" fmla="*/ 83 h 196"/>
                <a:gd name="T6" fmla="*/ 99 w 130"/>
                <a:gd name="T7" fmla="*/ 43 h 196"/>
                <a:gd name="T8" fmla="*/ 100 w 130"/>
                <a:gd name="T9" fmla="*/ 36 h 196"/>
                <a:gd name="T10" fmla="*/ 76 w 130"/>
                <a:gd name="T11" fmla="*/ 5 h 196"/>
                <a:gd name="T12" fmla="*/ 9 w 130"/>
                <a:gd name="T13" fmla="*/ 0 h 196"/>
                <a:gd name="T14" fmla="*/ 8 w 130"/>
                <a:gd name="T15" fmla="*/ 20 h 196"/>
                <a:gd name="T16" fmla="*/ 5 w 130"/>
                <a:gd name="T17" fmla="*/ 60 h 196"/>
                <a:gd name="T18" fmla="*/ 3 w 130"/>
                <a:gd name="T19" fmla="*/ 81 h 196"/>
                <a:gd name="T20" fmla="*/ 59 w 130"/>
                <a:gd name="T21" fmla="*/ 192 h 196"/>
                <a:gd name="T22" fmla="*/ 67 w 130"/>
                <a:gd name="T23" fmla="*/ 196 h 196"/>
                <a:gd name="T24" fmla="*/ 92 w 130"/>
                <a:gd name="T25" fmla="*/ 130 h 196"/>
                <a:gd name="T26" fmla="*/ 108 w 130"/>
                <a:gd name="T27" fmla="*/ 113 h 196"/>
                <a:gd name="T28" fmla="*/ 130 w 130"/>
                <a:gd name="T29" fmla="*/ 101 h 196"/>
                <a:gd name="T30" fmla="*/ 87 w 130"/>
                <a:gd name="T31" fmla="*/ 9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0" h="196">
                  <a:moveTo>
                    <a:pt x="87" y="98"/>
                  </a:moveTo>
                  <a:cubicBezTo>
                    <a:pt x="82" y="98"/>
                    <a:pt x="79" y="94"/>
                    <a:pt x="80" y="89"/>
                  </a:cubicBezTo>
                  <a:cubicBezTo>
                    <a:pt x="80" y="87"/>
                    <a:pt x="81" y="85"/>
                    <a:pt x="83" y="83"/>
                  </a:cubicBezTo>
                  <a:cubicBezTo>
                    <a:pt x="90" y="71"/>
                    <a:pt x="96" y="57"/>
                    <a:pt x="99" y="43"/>
                  </a:cubicBezTo>
                  <a:cubicBezTo>
                    <a:pt x="100" y="36"/>
                    <a:pt x="100" y="36"/>
                    <a:pt x="100" y="36"/>
                  </a:cubicBezTo>
                  <a:cubicBezTo>
                    <a:pt x="103" y="21"/>
                    <a:pt x="92" y="7"/>
                    <a:pt x="76" y="5"/>
                  </a:cubicBezTo>
                  <a:cubicBezTo>
                    <a:pt x="9" y="0"/>
                    <a:pt x="9" y="0"/>
                    <a:pt x="9" y="0"/>
                  </a:cubicBezTo>
                  <a:cubicBezTo>
                    <a:pt x="8" y="20"/>
                    <a:pt x="8" y="20"/>
                    <a:pt x="8" y="20"/>
                  </a:cubicBezTo>
                  <a:cubicBezTo>
                    <a:pt x="5" y="60"/>
                    <a:pt x="5" y="60"/>
                    <a:pt x="5" y="60"/>
                  </a:cubicBezTo>
                  <a:cubicBezTo>
                    <a:pt x="3" y="81"/>
                    <a:pt x="3" y="81"/>
                    <a:pt x="3" y="81"/>
                  </a:cubicBezTo>
                  <a:cubicBezTo>
                    <a:pt x="0" y="125"/>
                    <a:pt x="23" y="170"/>
                    <a:pt x="59" y="192"/>
                  </a:cubicBezTo>
                  <a:cubicBezTo>
                    <a:pt x="61" y="193"/>
                    <a:pt x="64" y="195"/>
                    <a:pt x="67" y="196"/>
                  </a:cubicBezTo>
                  <a:cubicBezTo>
                    <a:pt x="92" y="130"/>
                    <a:pt x="92" y="130"/>
                    <a:pt x="92" y="130"/>
                  </a:cubicBezTo>
                  <a:cubicBezTo>
                    <a:pt x="95" y="123"/>
                    <a:pt x="101" y="117"/>
                    <a:pt x="108" y="113"/>
                  </a:cubicBezTo>
                  <a:cubicBezTo>
                    <a:pt x="130" y="101"/>
                    <a:pt x="130" y="101"/>
                    <a:pt x="130" y="101"/>
                  </a:cubicBezTo>
                  <a:lnTo>
                    <a:pt x="87" y="98"/>
                  </a:lnTo>
                  <a:close/>
                </a:path>
              </a:pathLst>
            </a:custGeom>
            <a:solidFill>
              <a:srgbClr val="B38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2"/>
            <p:cNvSpPr>
              <a:spLocks/>
            </p:cNvSpPr>
            <p:nvPr userDrawn="1"/>
          </p:nvSpPr>
          <p:spPr bwMode="auto">
            <a:xfrm>
              <a:off x="10015539" y="3235960"/>
              <a:ext cx="133350" cy="58738"/>
            </a:xfrm>
            <a:custGeom>
              <a:avLst/>
              <a:gdLst>
                <a:gd name="T0" fmla="*/ 90 w 90"/>
                <a:gd name="T1" fmla="*/ 7 h 40"/>
                <a:gd name="T2" fmla="*/ 42 w 90"/>
                <a:gd name="T3" fmla="*/ 39 h 40"/>
                <a:gd name="T4" fmla="*/ 0 w 90"/>
                <a:gd name="T5" fmla="*/ 0 h 40"/>
                <a:gd name="T6" fmla="*/ 90 w 90"/>
                <a:gd name="T7" fmla="*/ 7 h 40"/>
              </a:gdLst>
              <a:ahLst/>
              <a:cxnLst>
                <a:cxn ang="0">
                  <a:pos x="T0" y="T1"/>
                </a:cxn>
                <a:cxn ang="0">
                  <a:pos x="T2" y="T3"/>
                </a:cxn>
                <a:cxn ang="0">
                  <a:pos x="T4" y="T5"/>
                </a:cxn>
                <a:cxn ang="0">
                  <a:pos x="T6" y="T7"/>
                </a:cxn>
              </a:cxnLst>
              <a:rect l="0" t="0" r="r" b="b"/>
              <a:pathLst>
                <a:path w="90" h="40">
                  <a:moveTo>
                    <a:pt x="90" y="7"/>
                  </a:moveTo>
                  <a:cubicBezTo>
                    <a:pt x="79" y="27"/>
                    <a:pt x="61" y="40"/>
                    <a:pt x="42" y="39"/>
                  </a:cubicBezTo>
                  <a:cubicBezTo>
                    <a:pt x="23" y="37"/>
                    <a:pt x="7" y="22"/>
                    <a:pt x="0" y="0"/>
                  </a:cubicBezTo>
                  <a:lnTo>
                    <a:pt x="90" y="7"/>
                  </a:ln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73"/>
            <p:cNvSpPr>
              <a:spLocks/>
            </p:cNvSpPr>
            <p:nvPr userDrawn="1"/>
          </p:nvSpPr>
          <p:spPr bwMode="auto">
            <a:xfrm>
              <a:off x="10015539" y="3235960"/>
              <a:ext cx="133350" cy="47625"/>
            </a:xfrm>
            <a:custGeom>
              <a:avLst/>
              <a:gdLst>
                <a:gd name="T0" fmla="*/ 90 w 90"/>
                <a:gd name="T1" fmla="*/ 7 h 32"/>
                <a:gd name="T2" fmla="*/ 43 w 90"/>
                <a:gd name="T3" fmla="*/ 30 h 32"/>
                <a:gd name="T4" fmla="*/ 0 w 90"/>
                <a:gd name="T5" fmla="*/ 0 h 32"/>
                <a:gd name="T6" fmla="*/ 90 w 90"/>
                <a:gd name="T7" fmla="*/ 7 h 32"/>
              </a:gdLst>
              <a:ahLst/>
              <a:cxnLst>
                <a:cxn ang="0">
                  <a:pos x="T0" y="T1"/>
                </a:cxn>
                <a:cxn ang="0">
                  <a:pos x="T2" y="T3"/>
                </a:cxn>
                <a:cxn ang="0">
                  <a:pos x="T4" y="T5"/>
                </a:cxn>
                <a:cxn ang="0">
                  <a:pos x="T6" y="T7"/>
                </a:cxn>
              </a:cxnLst>
              <a:rect l="0" t="0" r="r" b="b"/>
              <a:pathLst>
                <a:path w="90" h="32">
                  <a:moveTo>
                    <a:pt x="90" y="7"/>
                  </a:moveTo>
                  <a:cubicBezTo>
                    <a:pt x="79" y="27"/>
                    <a:pt x="62" y="32"/>
                    <a:pt x="43" y="30"/>
                  </a:cubicBezTo>
                  <a:cubicBezTo>
                    <a:pt x="23" y="29"/>
                    <a:pt x="7" y="22"/>
                    <a:pt x="0" y="0"/>
                  </a:cubicBezTo>
                  <a:lnTo>
                    <a:pt x="9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74"/>
            <p:cNvSpPr>
              <a:spLocks/>
            </p:cNvSpPr>
            <p:nvPr userDrawn="1"/>
          </p:nvSpPr>
          <p:spPr bwMode="auto">
            <a:xfrm>
              <a:off x="10161589" y="3107373"/>
              <a:ext cx="38100" cy="33338"/>
            </a:xfrm>
            <a:custGeom>
              <a:avLst/>
              <a:gdLst>
                <a:gd name="T0" fmla="*/ 1 w 26"/>
                <a:gd name="T1" fmla="*/ 12 h 23"/>
                <a:gd name="T2" fmla="*/ 14 w 26"/>
                <a:gd name="T3" fmla="*/ 1 h 23"/>
                <a:gd name="T4" fmla="*/ 25 w 26"/>
                <a:gd name="T5" fmla="*/ 14 h 23"/>
                <a:gd name="T6" fmla="*/ 20 w 26"/>
                <a:gd name="T7" fmla="*/ 23 h 23"/>
                <a:gd name="T8" fmla="*/ 4 w 26"/>
                <a:gd name="T9" fmla="*/ 22 h 23"/>
                <a:gd name="T10" fmla="*/ 1 w 26"/>
                <a:gd name="T11" fmla="*/ 12 h 23"/>
              </a:gdLst>
              <a:ahLst/>
              <a:cxnLst>
                <a:cxn ang="0">
                  <a:pos x="T0" y="T1"/>
                </a:cxn>
                <a:cxn ang="0">
                  <a:pos x="T2" y="T3"/>
                </a:cxn>
                <a:cxn ang="0">
                  <a:pos x="T4" y="T5"/>
                </a:cxn>
                <a:cxn ang="0">
                  <a:pos x="T6" y="T7"/>
                </a:cxn>
                <a:cxn ang="0">
                  <a:pos x="T8" y="T9"/>
                </a:cxn>
                <a:cxn ang="0">
                  <a:pos x="T10" y="T11"/>
                </a:cxn>
              </a:cxnLst>
              <a:rect l="0" t="0" r="r" b="b"/>
              <a:pathLst>
                <a:path w="26" h="23">
                  <a:moveTo>
                    <a:pt x="1" y="12"/>
                  </a:moveTo>
                  <a:cubicBezTo>
                    <a:pt x="1" y="5"/>
                    <a:pt x="7" y="0"/>
                    <a:pt x="14" y="1"/>
                  </a:cubicBezTo>
                  <a:cubicBezTo>
                    <a:pt x="21" y="1"/>
                    <a:pt x="26" y="7"/>
                    <a:pt x="25" y="14"/>
                  </a:cubicBezTo>
                  <a:cubicBezTo>
                    <a:pt x="25" y="18"/>
                    <a:pt x="23" y="21"/>
                    <a:pt x="20" y="23"/>
                  </a:cubicBezTo>
                  <a:cubicBezTo>
                    <a:pt x="4" y="22"/>
                    <a:pt x="4" y="22"/>
                    <a:pt x="4" y="22"/>
                  </a:cubicBezTo>
                  <a:cubicBezTo>
                    <a:pt x="2" y="19"/>
                    <a:pt x="0" y="16"/>
                    <a:pt x="1"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75"/>
            <p:cNvSpPr>
              <a:spLocks/>
            </p:cNvSpPr>
            <p:nvPr userDrawn="1"/>
          </p:nvSpPr>
          <p:spPr bwMode="auto">
            <a:xfrm>
              <a:off x="9980614" y="3093085"/>
              <a:ext cx="38100" cy="34925"/>
            </a:xfrm>
            <a:custGeom>
              <a:avLst/>
              <a:gdLst>
                <a:gd name="T0" fmla="*/ 0 w 25"/>
                <a:gd name="T1" fmla="*/ 12 h 23"/>
                <a:gd name="T2" fmla="*/ 14 w 25"/>
                <a:gd name="T3" fmla="*/ 1 h 23"/>
                <a:gd name="T4" fmla="*/ 25 w 25"/>
                <a:gd name="T5" fmla="*/ 14 h 23"/>
                <a:gd name="T6" fmla="*/ 20 w 25"/>
                <a:gd name="T7" fmla="*/ 23 h 23"/>
                <a:gd name="T8" fmla="*/ 4 w 25"/>
                <a:gd name="T9" fmla="*/ 21 h 23"/>
                <a:gd name="T10" fmla="*/ 0 w 25"/>
                <a:gd name="T11" fmla="*/ 12 h 23"/>
              </a:gdLst>
              <a:ahLst/>
              <a:cxnLst>
                <a:cxn ang="0">
                  <a:pos x="T0" y="T1"/>
                </a:cxn>
                <a:cxn ang="0">
                  <a:pos x="T2" y="T3"/>
                </a:cxn>
                <a:cxn ang="0">
                  <a:pos x="T4" y="T5"/>
                </a:cxn>
                <a:cxn ang="0">
                  <a:pos x="T6" y="T7"/>
                </a:cxn>
                <a:cxn ang="0">
                  <a:pos x="T8" y="T9"/>
                </a:cxn>
                <a:cxn ang="0">
                  <a:pos x="T10" y="T11"/>
                </a:cxn>
              </a:cxnLst>
              <a:rect l="0" t="0" r="r" b="b"/>
              <a:pathLst>
                <a:path w="25" h="23">
                  <a:moveTo>
                    <a:pt x="0" y="12"/>
                  </a:moveTo>
                  <a:cubicBezTo>
                    <a:pt x="1" y="5"/>
                    <a:pt x="7" y="0"/>
                    <a:pt x="14" y="1"/>
                  </a:cubicBezTo>
                  <a:cubicBezTo>
                    <a:pt x="20" y="1"/>
                    <a:pt x="25" y="7"/>
                    <a:pt x="25" y="14"/>
                  </a:cubicBezTo>
                  <a:cubicBezTo>
                    <a:pt x="25" y="17"/>
                    <a:pt x="23" y="21"/>
                    <a:pt x="20" y="23"/>
                  </a:cubicBezTo>
                  <a:cubicBezTo>
                    <a:pt x="4" y="21"/>
                    <a:pt x="4" y="21"/>
                    <a:pt x="4" y="21"/>
                  </a:cubicBezTo>
                  <a:cubicBezTo>
                    <a:pt x="1" y="19"/>
                    <a:pt x="0" y="16"/>
                    <a:pt x="0"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76"/>
            <p:cNvSpPr>
              <a:spLocks/>
            </p:cNvSpPr>
            <p:nvPr userDrawn="1"/>
          </p:nvSpPr>
          <p:spPr bwMode="auto">
            <a:xfrm>
              <a:off x="10328277" y="3067685"/>
              <a:ext cx="38100" cy="101600"/>
            </a:xfrm>
            <a:custGeom>
              <a:avLst/>
              <a:gdLst>
                <a:gd name="T0" fmla="*/ 6 w 25"/>
                <a:gd name="T1" fmla="*/ 0 h 69"/>
                <a:gd name="T2" fmla="*/ 24 w 25"/>
                <a:gd name="T3" fmla="*/ 36 h 69"/>
                <a:gd name="T4" fmla="*/ 0 w 25"/>
                <a:gd name="T5" fmla="*/ 69 h 69"/>
                <a:gd name="T6" fmla="*/ 6 w 25"/>
                <a:gd name="T7" fmla="*/ 0 h 69"/>
              </a:gdLst>
              <a:ahLst/>
              <a:cxnLst>
                <a:cxn ang="0">
                  <a:pos x="T0" y="T1"/>
                </a:cxn>
                <a:cxn ang="0">
                  <a:pos x="T2" y="T3"/>
                </a:cxn>
                <a:cxn ang="0">
                  <a:pos x="T4" y="T5"/>
                </a:cxn>
                <a:cxn ang="0">
                  <a:pos x="T6" y="T7"/>
                </a:cxn>
              </a:cxnLst>
              <a:rect l="0" t="0" r="r" b="b"/>
              <a:pathLst>
                <a:path w="25" h="69">
                  <a:moveTo>
                    <a:pt x="6" y="0"/>
                  </a:moveTo>
                  <a:cubicBezTo>
                    <a:pt x="18" y="7"/>
                    <a:pt x="25" y="21"/>
                    <a:pt x="24" y="36"/>
                  </a:cubicBezTo>
                  <a:cubicBezTo>
                    <a:pt x="23" y="51"/>
                    <a:pt x="13" y="64"/>
                    <a:pt x="0" y="69"/>
                  </a:cubicBezTo>
                  <a:lnTo>
                    <a:pt x="6" y="0"/>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77"/>
            <p:cNvSpPr>
              <a:spLocks/>
            </p:cNvSpPr>
            <p:nvPr userDrawn="1"/>
          </p:nvSpPr>
          <p:spPr bwMode="auto">
            <a:xfrm>
              <a:off x="10328277" y="3143885"/>
              <a:ext cx="33338" cy="38100"/>
            </a:xfrm>
            <a:custGeom>
              <a:avLst/>
              <a:gdLst>
                <a:gd name="T0" fmla="*/ 21 w 22"/>
                <a:gd name="T1" fmla="*/ 14 h 26"/>
                <a:gd name="T2" fmla="*/ 8 w 22"/>
                <a:gd name="T3" fmla="*/ 25 h 26"/>
                <a:gd name="T4" fmla="*/ 0 w 22"/>
                <a:gd name="T5" fmla="*/ 21 h 26"/>
                <a:gd name="T6" fmla="*/ 1 w 22"/>
                <a:gd name="T7" fmla="*/ 3 h 26"/>
                <a:gd name="T8" fmla="*/ 10 w 22"/>
                <a:gd name="T9" fmla="*/ 0 h 26"/>
                <a:gd name="T10" fmla="*/ 18 w 22"/>
                <a:gd name="T11" fmla="*/ 4 h 26"/>
                <a:gd name="T12" fmla="*/ 21 w 22"/>
                <a:gd name="T13" fmla="*/ 14 h 26"/>
              </a:gdLst>
              <a:ahLst/>
              <a:cxnLst>
                <a:cxn ang="0">
                  <a:pos x="T0" y="T1"/>
                </a:cxn>
                <a:cxn ang="0">
                  <a:pos x="T2" y="T3"/>
                </a:cxn>
                <a:cxn ang="0">
                  <a:pos x="T4" y="T5"/>
                </a:cxn>
                <a:cxn ang="0">
                  <a:pos x="T6" y="T7"/>
                </a:cxn>
                <a:cxn ang="0">
                  <a:pos x="T8" y="T9"/>
                </a:cxn>
                <a:cxn ang="0">
                  <a:pos x="T10" y="T11"/>
                </a:cxn>
                <a:cxn ang="0">
                  <a:pos x="T12" y="T13"/>
                </a:cxn>
              </a:cxnLst>
              <a:rect l="0" t="0" r="r" b="b"/>
              <a:pathLst>
                <a:path w="22" h="26">
                  <a:moveTo>
                    <a:pt x="21" y="14"/>
                  </a:moveTo>
                  <a:cubicBezTo>
                    <a:pt x="21" y="20"/>
                    <a:pt x="15" y="26"/>
                    <a:pt x="8" y="25"/>
                  </a:cubicBezTo>
                  <a:cubicBezTo>
                    <a:pt x="5" y="25"/>
                    <a:pt x="2" y="23"/>
                    <a:pt x="0" y="21"/>
                  </a:cubicBezTo>
                  <a:cubicBezTo>
                    <a:pt x="1" y="3"/>
                    <a:pt x="1" y="3"/>
                    <a:pt x="1" y="3"/>
                  </a:cubicBezTo>
                  <a:cubicBezTo>
                    <a:pt x="4" y="1"/>
                    <a:pt x="7" y="0"/>
                    <a:pt x="10" y="0"/>
                  </a:cubicBezTo>
                  <a:cubicBezTo>
                    <a:pt x="13" y="0"/>
                    <a:pt x="16" y="2"/>
                    <a:pt x="18" y="4"/>
                  </a:cubicBezTo>
                  <a:cubicBezTo>
                    <a:pt x="20" y="6"/>
                    <a:pt x="22" y="10"/>
                    <a:pt x="21" y="14"/>
                  </a:cubicBezTo>
                  <a:close/>
                </a:path>
              </a:pathLst>
            </a:custGeom>
            <a:solidFill>
              <a:srgbClr val="FBB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Freeform 78"/>
            <p:cNvSpPr>
              <a:spLocks/>
            </p:cNvSpPr>
            <p:nvPr userDrawn="1"/>
          </p:nvSpPr>
          <p:spPr bwMode="auto">
            <a:xfrm>
              <a:off x="10031414" y="2942273"/>
              <a:ext cx="273050" cy="152400"/>
            </a:xfrm>
            <a:custGeom>
              <a:avLst/>
              <a:gdLst>
                <a:gd name="T0" fmla="*/ 0 w 183"/>
                <a:gd name="T1" fmla="*/ 0 h 103"/>
                <a:gd name="T2" fmla="*/ 169 w 183"/>
                <a:gd name="T3" fmla="*/ 103 h 103"/>
                <a:gd name="T4" fmla="*/ 183 w 183"/>
                <a:gd name="T5" fmla="*/ 14 h 103"/>
                <a:gd name="T6" fmla="*/ 0 w 183"/>
                <a:gd name="T7" fmla="*/ 0 h 103"/>
              </a:gdLst>
              <a:ahLst/>
              <a:cxnLst>
                <a:cxn ang="0">
                  <a:pos x="T0" y="T1"/>
                </a:cxn>
                <a:cxn ang="0">
                  <a:pos x="T2" y="T3"/>
                </a:cxn>
                <a:cxn ang="0">
                  <a:pos x="T4" y="T5"/>
                </a:cxn>
                <a:cxn ang="0">
                  <a:pos x="T6" y="T7"/>
                </a:cxn>
              </a:cxnLst>
              <a:rect l="0" t="0" r="r" b="b"/>
              <a:pathLst>
                <a:path w="183" h="103">
                  <a:moveTo>
                    <a:pt x="0" y="0"/>
                  </a:moveTo>
                  <a:cubicBezTo>
                    <a:pt x="0" y="0"/>
                    <a:pt x="40" y="95"/>
                    <a:pt x="169" y="103"/>
                  </a:cubicBezTo>
                  <a:cubicBezTo>
                    <a:pt x="183" y="14"/>
                    <a:pt x="183" y="14"/>
                    <a:pt x="183" y="14"/>
                  </a:cubicBezTo>
                  <a:lnTo>
                    <a:pt x="0" y="0"/>
                  </a:lnTo>
                  <a:close/>
                </a:path>
              </a:pathLst>
            </a:cu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Freeform 79"/>
            <p:cNvSpPr>
              <a:spLocks/>
            </p:cNvSpPr>
            <p:nvPr userDrawn="1"/>
          </p:nvSpPr>
          <p:spPr bwMode="auto">
            <a:xfrm>
              <a:off x="9940927" y="2937510"/>
              <a:ext cx="127000" cy="131763"/>
            </a:xfrm>
            <a:custGeom>
              <a:avLst/>
              <a:gdLst>
                <a:gd name="T0" fmla="*/ 80 w 85"/>
                <a:gd name="T1" fmla="*/ 5 h 89"/>
                <a:gd name="T2" fmla="*/ 22 w 85"/>
                <a:gd name="T3" fmla="*/ 0 h 89"/>
                <a:gd name="T4" fmla="*/ 8 w 85"/>
                <a:gd name="T5" fmla="*/ 15 h 89"/>
                <a:gd name="T6" fmla="*/ 5 w 85"/>
                <a:gd name="T7" fmla="*/ 28 h 89"/>
                <a:gd name="T8" fmla="*/ 0 w 85"/>
                <a:gd name="T9" fmla="*/ 89 h 89"/>
                <a:gd name="T10" fmla="*/ 80 w 85"/>
                <a:gd name="T11" fmla="*/ 5 h 89"/>
              </a:gdLst>
              <a:ahLst/>
              <a:cxnLst>
                <a:cxn ang="0">
                  <a:pos x="T0" y="T1"/>
                </a:cxn>
                <a:cxn ang="0">
                  <a:pos x="T2" y="T3"/>
                </a:cxn>
                <a:cxn ang="0">
                  <a:pos x="T4" y="T5"/>
                </a:cxn>
                <a:cxn ang="0">
                  <a:pos x="T6" y="T7"/>
                </a:cxn>
                <a:cxn ang="0">
                  <a:pos x="T8" y="T9"/>
                </a:cxn>
                <a:cxn ang="0">
                  <a:pos x="T10" y="T11"/>
                </a:cxn>
              </a:cxnLst>
              <a:rect l="0" t="0" r="r" b="b"/>
              <a:pathLst>
                <a:path w="85" h="89">
                  <a:moveTo>
                    <a:pt x="80" y="5"/>
                  </a:moveTo>
                  <a:cubicBezTo>
                    <a:pt x="22" y="0"/>
                    <a:pt x="22" y="0"/>
                    <a:pt x="22" y="0"/>
                  </a:cubicBezTo>
                  <a:cubicBezTo>
                    <a:pt x="8" y="15"/>
                    <a:pt x="8" y="15"/>
                    <a:pt x="8" y="15"/>
                  </a:cubicBezTo>
                  <a:cubicBezTo>
                    <a:pt x="5" y="28"/>
                    <a:pt x="5" y="28"/>
                    <a:pt x="5" y="28"/>
                  </a:cubicBezTo>
                  <a:cubicBezTo>
                    <a:pt x="0" y="89"/>
                    <a:pt x="0" y="89"/>
                    <a:pt x="0" y="89"/>
                  </a:cubicBezTo>
                  <a:cubicBezTo>
                    <a:pt x="85" y="66"/>
                    <a:pt x="80" y="5"/>
                    <a:pt x="80" y="5"/>
                  </a:cubicBezTo>
                  <a:close/>
                </a:path>
              </a:pathLst>
            </a:cu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80"/>
            <p:cNvSpPr>
              <a:spLocks/>
            </p:cNvSpPr>
            <p:nvPr userDrawn="1"/>
          </p:nvSpPr>
          <p:spPr bwMode="auto">
            <a:xfrm>
              <a:off x="10212389" y="2783523"/>
              <a:ext cx="227013" cy="225425"/>
            </a:xfrm>
            <a:custGeom>
              <a:avLst/>
              <a:gdLst>
                <a:gd name="T0" fmla="*/ 150 w 153"/>
                <a:gd name="T1" fmla="*/ 82 h 152"/>
                <a:gd name="T2" fmla="*/ 71 w 153"/>
                <a:gd name="T3" fmla="*/ 149 h 152"/>
                <a:gd name="T4" fmla="*/ 3 w 153"/>
                <a:gd name="T5" fmla="*/ 71 h 152"/>
                <a:gd name="T6" fmla="*/ 82 w 153"/>
                <a:gd name="T7" fmla="*/ 3 h 152"/>
                <a:gd name="T8" fmla="*/ 150 w 153"/>
                <a:gd name="T9" fmla="*/ 82 h 152"/>
              </a:gdLst>
              <a:ahLst/>
              <a:cxnLst>
                <a:cxn ang="0">
                  <a:pos x="T0" y="T1"/>
                </a:cxn>
                <a:cxn ang="0">
                  <a:pos x="T2" y="T3"/>
                </a:cxn>
                <a:cxn ang="0">
                  <a:pos x="T4" y="T5"/>
                </a:cxn>
                <a:cxn ang="0">
                  <a:pos x="T6" y="T7"/>
                </a:cxn>
                <a:cxn ang="0">
                  <a:pos x="T8" y="T9"/>
                </a:cxn>
              </a:cxnLst>
              <a:rect l="0" t="0" r="r" b="b"/>
              <a:pathLst>
                <a:path w="153" h="152">
                  <a:moveTo>
                    <a:pt x="150" y="82"/>
                  </a:moveTo>
                  <a:cubicBezTo>
                    <a:pt x="147" y="122"/>
                    <a:pt x="111" y="152"/>
                    <a:pt x="71" y="149"/>
                  </a:cubicBezTo>
                  <a:cubicBezTo>
                    <a:pt x="31" y="146"/>
                    <a:pt x="0" y="111"/>
                    <a:pt x="3" y="71"/>
                  </a:cubicBezTo>
                  <a:cubicBezTo>
                    <a:pt x="6" y="30"/>
                    <a:pt x="42" y="0"/>
                    <a:pt x="82" y="3"/>
                  </a:cubicBezTo>
                  <a:cubicBezTo>
                    <a:pt x="123" y="6"/>
                    <a:pt x="153" y="41"/>
                    <a:pt x="150" y="82"/>
                  </a:cubicBezTo>
                  <a:close/>
                </a:path>
              </a:pathLst>
            </a:cu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Rectangle 81"/>
            <p:cNvSpPr>
              <a:spLocks noChangeArrowheads="1"/>
            </p:cNvSpPr>
            <p:nvPr userDrawn="1"/>
          </p:nvSpPr>
          <p:spPr bwMode="auto">
            <a:xfrm>
              <a:off x="9898064" y="3707448"/>
              <a:ext cx="485775" cy="146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Rectangle 82"/>
            <p:cNvSpPr>
              <a:spLocks noChangeArrowheads="1"/>
            </p:cNvSpPr>
            <p:nvPr userDrawn="1"/>
          </p:nvSpPr>
          <p:spPr bwMode="auto">
            <a:xfrm>
              <a:off x="9898064" y="3707448"/>
              <a:ext cx="485775"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Freeform 83"/>
            <p:cNvSpPr>
              <a:spLocks/>
            </p:cNvSpPr>
            <p:nvPr userDrawn="1"/>
          </p:nvSpPr>
          <p:spPr bwMode="auto">
            <a:xfrm>
              <a:off x="10204452" y="3401060"/>
              <a:ext cx="290513" cy="334963"/>
            </a:xfrm>
            <a:custGeom>
              <a:avLst/>
              <a:gdLst>
                <a:gd name="T0" fmla="*/ 89 w 195"/>
                <a:gd name="T1" fmla="*/ 0 h 226"/>
                <a:gd name="T2" fmla="*/ 61 w 195"/>
                <a:gd name="T3" fmla="*/ 0 h 226"/>
                <a:gd name="T4" fmla="*/ 0 w 195"/>
                <a:gd name="T5" fmla="*/ 93 h 226"/>
                <a:gd name="T6" fmla="*/ 20 w 195"/>
                <a:gd name="T7" fmla="*/ 207 h 226"/>
                <a:gd name="T8" fmla="*/ 120 w 195"/>
                <a:gd name="T9" fmla="*/ 207 h 226"/>
                <a:gd name="T10" fmla="*/ 120 w 195"/>
                <a:gd name="T11" fmla="*/ 226 h 226"/>
                <a:gd name="T12" fmla="*/ 195 w 195"/>
                <a:gd name="T13" fmla="*/ 226 h 226"/>
                <a:gd name="T14" fmla="*/ 174 w 195"/>
                <a:gd name="T15" fmla="*/ 81 h 226"/>
                <a:gd name="T16" fmla="*/ 89 w 195"/>
                <a:gd name="T17"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226">
                  <a:moveTo>
                    <a:pt x="89" y="0"/>
                  </a:moveTo>
                  <a:cubicBezTo>
                    <a:pt x="61" y="0"/>
                    <a:pt x="61" y="0"/>
                    <a:pt x="61" y="0"/>
                  </a:cubicBezTo>
                  <a:cubicBezTo>
                    <a:pt x="60" y="42"/>
                    <a:pt x="36" y="77"/>
                    <a:pt x="0" y="93"/>
                  </a:cubicBezTo>
                  <a:cubicBezTo>
                    <a:pt x="20" y="207"/>
                    <a:pt x="20" y="207"/>
                    <a:pt x="20" y="207"/>
                  </a:cubicBezTo>
                  <a:cubicBezTo>
                    <a:pt x="120" y="207"/>
                    <a:pt x="120" y="207"/>
                    <a:pt x="120" y="207"/>
                  </a:cubicBezTo>
                  <a:cubicBezTo>
                    <a:pt x="120" y="226"/>
                    <a:pt x="120" y="226"/>
                    <a:pt x="120" y="226"/>
                  </a:cubicBezTo>
                  <a:cubicBezTo>
                    <a:pt x="195" y="226"/>
                    <a:pt x="195" y="226"/>
                    <a:pt x="195" y="226"/>
                  </a:cubicBezTo>
                  <a:cubicBezTo>
                    <a:pt x="174" y="81"/>
                    <a:pt x="174" y="81"/>
                    <a:pt x="174" y="81"/>
                  </a:cubicBezTo>
                  <a:cubicBezTo>
                    <a:pt x="167" y="38"/>
                    <a:pt x="132" y="5"/>
                    <a:pt x="89" y="0"/>
                  </a:cubicBezTo>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Freeform 84"/>
            <p:cNvSpPr>
              <a:spLocks/>
            </p:cNvSpPr>
            <p:nvPr userDrawn="1"/>
          </p:nvSpPr>
          <p:spPr bwMode="auto">
            <a:xfrm>
              <a:off x="10204452" y="3401060"/>
              <a:ext cx="90488" cy="136525"/>
            </a:xfrm>
            <a:custGeom>
              <a:avLst/>
              <a:gdLst>
                <a:gd name="T0" fmla="*/ 61 w 61"/>
                <a:gd name="T1" fmla="*/ 0 h 93"/>
                <a:gd name="T2" fmla="*/ 60 w 61"/>
                <a:gd name="T3" fmla="*/ 0 h 93"/>
                <a:gd name="T4" fmla="*/ 0 w 61"/>
                <a:gd name="T5" fmla="*/ 93 h 93"/>
                <a:gd name="T6" fmla="*/ 0 w 61"/>
                <a:gd name="T7" fmla="*/ 93 h 93"/>
                <a:gd name="T8" fmla="*/ 61 w 61"/>
                <a:gd name="T9" fmla="*/ 0 h 93"/>
              </a:gdLst>
              <a:ahLst/>
              <a:cxnLst>
                <a:cxn ang="0">
                  <a:pos x="T0" y="T1"/>
                </a:cxn>
                <a:cxn ang="0">
                  <a:pos x="T2" y="T3"/>
                </a:cxn>
                <a:cxn ang="0">
                  <a:pos x="T4" y="T5"/>
                </a:cxn>
                <a:cxn ang="0">
                  <a:pos x="T6" y="T7"/>
                </a:cxn>
                <a:cxn ang="0">
                  <a:pos x="T8" y="T9"/>
                </a:cxn>
              </a:cxnLst>
              <a:rect l="0" t="0" r="r" b="b"/>
              <a:pathLst>
                <a:path w="61" h="93">
                  <a:moveTo>
                    <a:pt x="61" y="0"/>
                  </a:moveTo>
                  <a:cubicBezTo>
                    <a:pt x="60" y="0"/>
                    <a:pt x="60" y="0"/>
                    <a:pt x="60" y="0"/>
                  </a:cubicBezTo>
                  <a:cubicBezTo>
                    <a:pt x="60" y="41"/>
                    <a:pt x="35" y="77"/>
                    <a:pt x="0" y="93"/>
                  </a:cubicBezTo>
                  <a:cubicBezTo>
                    <a:pt x="0" y="93"/>
                    <a:pt x="0" y="93"/>
                    <a:pt x="0" y="93"/>
                  </a:cubicBezTo>
                  <a:cubicBezTo>
                    <a:pt x="36" y="77"/>
                    <a:pt x="60" y="42"/>
                    <a:pt x="61" y="0"/>
                  </a:cubicBezTo>
                </a:path>
              </a:pathLst>
            </a:custGeom>
            <a:solidFill>
              <a:srgbClr val="B089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Freeform 85"/>
            <p:cNvSpPr>
              <a:spLocks/>
            </p:cNvSpPr>
            <p:nvPr userDrawn="1"/>
          </p:nvSpPr>
          <p:spPr bwMode="auto">
            <a:xfrm>
              <a:off x="10234614" y="3707448"/>
              <a:ext cx="149225" cy="28575"/>
            </a:xfrm>
            <a:custGeom>
              <a:avLst/>
              <a:gdLst>
                <a:gd name="T0" fmla="*/ 94 w 94"/>
                <a:gd name="T1" fmla="*/ 0 h 18"/>
                <a:gd name="T2" fmla="*/ 0 w 94"/>
                <a:gd name="T3" fmla="*/ 0 h 18"/>
                <a:gd name="T4" fmla="*/ 4 w 94"/>
                <a:gd name="T5" fmla="*/ 18 h 18"/>
                <a:gd name="T6" fmla="*/ 94 w 94"/>
                <a:gd name="T7" fmla="*/ 18 h 18"/>
                <a:gd name="T8" fmla="*/ 94 w 94"/>
                <a:gd name="T9" fmla="*/ 0 h 18"/>
              </a:gdLst>
              <a:ahLst/>
              <a:cxnLst>
                <a:cxn ang="0">
                  <a:pos x="T0" y="T1"/>
                </a:cxn>
                <a:cxn ang="0">
                  <a:pos x="T2" y="T3"/>
                </a:cxn>
                <a:cxn ang="0">
                  <a:pos x="T4" y="T5"/>
                </a:cxn>
                <a:cxn ang="0">
                  <a:pos x="T6" y="T7"/>
                </a:cxn>
                <a:cxn ang="0">
                  <a:pos x="T8" y="T9"/>
                </a:cxn>
              </a:cxnLst>
              <a:rect l="0" t="0" r="r" b="b"/>
              <a:pathLst>
                <a:path w="94" h="18">
                  <a:moveTo>
                    <a:pt x="94" y="0"/>
                  </a:moveTo>
                  <a:lnTo>
                    <a:pt x="0" y="0"/>
                  </a:lnTo>
                  <a:lnTo>
                    <a:pt x="4" y="18"/>
                  </a:lnTo>
                  <a:lnTo>
                    <a:pt x="94" y="18"/>
                  </a:lnTo>
                  <a:lnTo>
                    <a:pt x="94"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Freeform 86"/>
            <p:cNvSpPr>
              <a:spLocks/>
            </p:cNvSpPr>
            <p:nvPr userDrawn="1"/>
          </p:nvSpPr>
          <p:spPr bwMode="auto">
            <a:xfrm>
              <a:off x="10234614" y="3707448"/>
              <a:ext cx="149225" cy="28575"/>
            </a:xfrm>
            <a:custGeom>
              <a:avLst/>
              <a:gdLst>
                <a:gd name="T0" fmla="*/ 94 w 94"/>
                <a:gd name="T1" fmla="*/ 0 h 18"/>
                <a:gd name="T2" fmla="*/ 0 w 94"/>
                <a:gd name="T3" fmla="*/ 0 h 18"/>
                <a:gd name="T4" fmla="*/ 4 w 94"/>
                <a:gd name="T5" fmla="*/ 18 h 18"/>
                <a:gd name="T6" fmla="*/ 94 w 94"/>
                <a:gd name="T7" fmla="*/ 18 h 18"/>
                <a:gd name="T8" fmla="*/ 94 w 94"/>
                <a:gd name="T9" fmla="*/ 0 h 18"/>
              </a:gdLst>
              <a:ahLst/>
              <a:cxnLst>
                <a:cxn ang="0">
                  <a:pos x="T0" y="T1"/>
                </a:cxn>
                <a:cxn ang="0">
                  <a:pos x="T2" y="T3"/>
                </a:cxn>
                <a:cxn ang="0">
                  <a:pos x="T4" y="T5"/>
                </a:cxn>
                <a:cxn ang="0">
                  <a:pos x="T6" y="T7"/>
                </a:cxn>
                <a:cxn ang="0">
                  <a:pos x="T8" y="T9"/>
                </a:cxn>
              </a:cxnLst>
              <a:rect l="0" t="0" r="r" b="b"/>
              <a:pathLst>
                <a:path w="94" h="18">
                  <a:moveTo>
                    <a:pt x="94" y="0"/>
                  </a:moveTo>
                  <a:lnTo>
                    <a:pt x="0" y="0"/>
                  </a:lnTo>
                  <a:lnTo>
                    <a:pt x="4" y="18"/>
                  </a:lnTo>
                  <a:lnTo>
                    <a:pt x="94" y="18"/>
                  </a:lnTo>
                  <a:lnTo>
                    <a:pt x="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Freeform 87"/>
            <p:cNvSpPr>
              <a:spLocks/>
            </p:cNvSpPr>
            <p:nvPr userDrawn="1"/>
          </p:nvSpPr>
          <p:spPr bwMode="auto">
            <a:xfrm>
              <a:off x="8232777" y="2988310"/>
              <a:ext cx="125413" cy="319088"/>
            </a:xfrm>
            <a:custGeom>
              <a:avLst/>
              <a:gdLst>
                <a:gd name="T0" fmla="*/ 72 w 85"/>
                <a:gd name="T1" fmla="*/ 0 h 215"/>
                <a:gd name="T2" fmla="*/ 14 w 85"/>
                <a:gd name="T3" fmla="*/ 0 h 215"/>
                <a:gd name="T4" fmla="*/ 27 w 85"/>
                <a:gd name="T5" fmla="*/ 121 h 215"/>
                <a:gd name="T6" fmla="*/ 27 w 85"/>
                <a:gd name="T7" fmla="*/ 121 h 215"/>
                <a:gd name="T8" fmla="*/ 0 w 85"/>
                <a:gd name="T9" fmla="*/ 215 h 215"/>
                <a:gd name="T10" fmla="*/ 70 w 85"/>
                <a:gd name="T11" fmla="*/ 174 h 215"/>
                <a:gd name="T12" fmla="*/ 83 w 85"/>
                <a:gd name="T13" fmla="*/ 134 h 215"/>
                <a:gd name="T14" fmla="*/ 85 w 85"/>
                <a:gd name="T15" fmla="*/ 112 h 215"/>
                <a:gd name="T16" fmla="*/ 72 w 85"/>
                <a:gd name="T1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215">
                  <a:moveTo>
                    <a:pt x="72" y="0"/>
                  </a:moveTo>
                  <a:cubicBezTo>
                    <a:pt x="14" y="0"/>
                    <a:pt x="14" y="0"/>
                    <a:pt x="14" y="0"/>
                  </a:cubicBezTo>
                  <a:cubicBezTo>
                    <a:pt x="27" y="121"/>
                    <a:pt x="27" y="121"/>
                    <a:pt x="27" y="121"/>
                  </a:cubicBezTo>
                  <a:cubicBezTo>
                    <a:pt x="27" y="121"/>
                    <a:pt x="27" y="121"/>
                    <a:pt x="27" y="121"/>
                  </a:cubicBezTo>
                  <a:cubicBezTo>
                    <a:pt x="0" y="215"/>
                    <a:pt x="0" y="215"/>
                    <a:pt x="0" y="215"/>
                  </a:cubicBezTo>
                  <a:cubicBezTo>
                    <a:pt x="70" y="174"/>
                    <a:pt x="70" y="174"/>
                    <a:pt x="70" y="174"/>
                  </a:cubicBezTo>
                  <a:cubicBezTo>
                    <a:pt x="83" y="134"/>
                    <a:pt x="83" y="134"/>
                    <a:pt x="83" y="134"/>
                  </a:cubicBezTo>
                  <a:cubicBezTo>
                    <a:pt x="85" y="127"/>
                    <a:pt x="85" y="119"/>
                    <a:pt x="85" y="112"/>
                  </a:cubicBezTo>
                  <a:cubicBezTo>
                    <a:pt x="72" y="0"/>
                    <a:pt x="72" y="0"/>
                    <a:pt x="72" y="0"/>
                  </a:cubicBezTo>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Freeform 88"/>
            <p:cNvSpPr>
              <a:spLocks/>
            </p:cNvSpPr>
            <p:nvPr userDrawn="1"/>
          </p:nvSpPr>
          <p:spPr bwMode="auto">
            <a:xfrm>
              <a:off x="7862889" y="2840673"/>
              <a:ext cx="485775" cy="227013"/>
            </a:xfrm>
            <a:custGeom>
              <a:avLst/>
              <a:gdLst>
                <a:gd name="T0" fmla="*/ 326 w 326"/>
                <a:gd name="T1" fmla="*/ 153 h 153"/>
                <a:gd name="T2" fmla="*/ 316 w 326"/>
                <a:gd name="T3" fmla="*/ 57 h 153"/>
                <a:gd name="T4" fmla="*/ 250 w 326"/>
                <a:gd name="T5" fmla="*/ 0 h 153"/>
                <a:gd name="T6" fmla="*/ 80 w 326"/>
                <a:gd name="T7" fmla="*/ 0 h 153"/>
                <a:gd name="T8" fmla="*/ 14 w 326"/>
                <a:gd name="T9" fmla="*/ 57 h 153"/>
                <a:gd name="T10" fmla="*/ 0 w 326"/>
                <a:gd name="T11" fmla="*/ 153 h 153"/>
                <a:gd name="T12" fmla="*/ 326 w 326"/>
                <a:gd name="T13" fmla="*/ 153 h 153"/>
              </a:gdLst>
              <a:ahLst/>
              <a:cxnLst>
                <a:cxn ang="0">
                  <a:pos x="T0" y="T1"/>
                </a:cxn>
                <a:cxn ang="0">
                  <a:pos x="T2" y="T3"/>
                </a:cxn>
                <a:cxn ang="0">
                  <a:pos x="T4" y="T5"/>
                </a:cxn>
                <a:cxn ang="0">
                  <a:pos x="T6" y="T7"/>
                </a:cxn>
                <a:cxn ang="0">
                  <a:pos x="T8" y="T9"/>
                </a:cxn>
                <a:cxn ang="0">
                  <a:pos x="T10" y="T11"/>
                </a:cxn>
                <a:cxn ang="0">
                  <a:pos x="T12" y="T13"/>
                </a:cxn>
              </a:cxnLst>
              <a:rect l="0" t="0" r="r" b="b"/>
              <a:pathLst>
                <a:path w="326" h="153">
                  <a:moveTo>
                    <a:pt x="326" y="153"/>
                  </a:moveTo>
                  <a:cubicBezTo>
                    <a:pt x="316" y="57"/>
                    <a:pt x="316" y="57"/>
                    <a:pt x="316" y="57"/>
                  </a:cubicBezTo>
                  <a:cubicBezTo>
                    <a:pt x="311" y="24"/>
                    <a:pt x="283" y="0"/>
                    <a:pt x="250" y="0"/>
                  </a:cubicBezTo>
                  <a:cubicBezTo>
                    <a:pt x="80" y="0"/>
                    <a:pt x="80" y="0"/>
                    <a:pt x="80" y="0"/>
                  </a:cubicBezTo>
                  <a:cubicBezTo>
                    <a:pt x="47" y="0"/>
                    <a:pt x="19" y="24"/>
                    <a:pt x="14" y="57"/>
                  </a:cubicBezTo>
                  <a:cubicBezTo>
                    <a:pt x="0" y="153"/>
                    <a:pt x="0" y="153"/>
                    <a:pt x="0" y="153"/>
                  </a:cubicBezTo>
                  <a:cubicBezTo>
                    <a:pt x="326" y="153"/>
                    <a:pt x="326" y="153"/>
                    <a:pt x="326" y="153"/>
                  </a:cubicBezTo>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89"/>
            <p:cNvSpPr>
              <a:spLocks/>
            </p:cNvSpPr>
            <p:nvPr userDrawn="1"/>
          </p:nvSpPr>
          <p:spPr bwMode="auto">
            <a:xfrm>
              <a:off x="7862889" y="2840673"/>
              <a:ext cx="485775" cy="230188"/>
            </a:xfrm>
            <a:custGeom>
              <a:avLst/>
              <a:gdLst>
                <a:gd name="T0" fmla="*/ 326 w 326"/>
                <a:gd name="T1" fmla="*/ 156 h 156"/>
                <a:gd name="T2" fmla="*/ 316 w 326"/>
                <a:gd name="T3" fmla="*/ 57 h 156"/>
                <a:gd name="T4" fmla="*/ 250 w 326"/>
                <a:gd name="T5" fmla="*/ 0 h 156"/>
                <a:gd name="T6" fmla="*/ 80 w 326"/>
                <a:gd name="T7" fmla="*/ 0 h 156"/>
                <a:gd name="T8" fmla="*/ 14 w 326"/>
                <a:gd name="T9" fmla="*/ 57 h 156"/>
                <a:gd name="T10" fmla="*/ 0 w 326"/>
                <a:gd name="T11" fmla="*/ 153 h 156"/>
                <a:gd name="T12" fmla="*/ 326 w 32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326" h="156">
                  <a:moveTo>
                    <a:pt x="326" y="156"/>
                  </a:moveTo>
                  <a:cubicBezTo>
                    <a:pt x="316" y="57"/>
                    <a:pt x="316" y="57"/>
                    <a:pt x="316" y="57"/>
                  </a:cubicBezTo>
                  <a:cubicBezTo>
                    <a:pt x="311" y="24"/>
                    <a:pt x="283" y="0"/>
                    <a:pt x="250" y="0"/>
                  </a:cubicBezTo>
                  <a:cubicBezTo>
                    <a:pt x="80" y="0"/>
                    <a:pt x="80" y="0"/>
                    <a:pt x="80" y="0"/>
                  </a:cubicBezTo>
                  <a:cubicBezTo>
                    <a:pt x="47" y="0"/>
                    <a:pt x="19" y="24"/>
                    <a:pt x="14" y="57"/>
                  </a:cubicBezTo>
                  <a:cubicBezTo>
                    <a:pt x="0" y="153"/>
                    <a:pt x="0" y="153"/>
                    <a:pt x="0" y="153"/>
                  </a:cubicBezTo>
                  <a:cubicBezTo>
                    <a:pt x="326" y="156"/>
                    <a:pt x="326" y="156"/>
                    <a:pt x="326" y="156"/>
                  </a:cubicBezTo>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90"/>
            <p:cNvSpPr>
              <a:spLocks/>
            </p:cNvSpPr>
            <p:nvPr userDrawn="1"/>
          </p:nvSpPr>
          <p:spPr bwMode="auto">
            <a:xfrm>
              <a:off x="7942264" y="2443798"/>
              <a:ext cx="350838" cy="357188"/>
            </a:xfrm>
            <a:custGeom>
              <a:avLst/>
              <a:gdLst>
                <a:gd name="T0" fmla="*/ 230 w 235"/>
                <a:gd name="T1" fmla="*/ 128 h 242"/>
                <a:gd name="T2" fmla="*/ 128 w 235"/>
                <a:gd name="T3" fmla="*/ 5 h 242"/>
                <a:gd name="T4" fmla="*/ 6 w 235"/>
                <a:gd name="T5" fmla="*/ 107 h 242"/>
                <a:gd name="T6" fmla="*/ 0 w 235"/>
                <a:gd name="T7" fmla="*/ 238 h 242"/>
                <a:gd name="T8" fmla="*/ 61 w 235"/>
                <a:gd name="T9" fmla="*/ 212 h 242"/>
                <a:gd name="T10" fmla="*/ 73 w 235"/>
                <a:gd name="T11" fmla="*/ 190 h 242"/>
                <a:gd name="T12" fmla="*/ 157 w 235"/>
                <a:gd name="T13" fmla="*/ 162 h 242"/>
                <a:gd name="T14" fmla="*/ 167 w 235"/>
                <a:gd name="T15" fmla="*/ 185 h 242"/>
                <a:gd name="T16" fmla="*/ 222 w 235"/>
                <a:gd name="T17" fmla="*/ 242 h 242"/>
                <a:gd name="T18" fmla="*/ 230 w 235"/>
                <a:gd name="T19" fmla="*/ 12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42">
                  <a:moveTo>
                    <a:pt x="230" y="128"/>
                  </a:moveTo>
                  <a:cubicBezTo>
                    <a:pt x="235" y="66"/>
                    <a:pt x="190" y="11"/>
                    <a:pt x="128" y="5"/>
                  </a:cubicBezTo>
                  <a:cubicBezTo>
                    <a:pt x="66" y="0"/>
                    <a:pt x="11" y="45"/>
                    <a:pt x="6" y="107"/>
                  </a:cubicBezTo>
                  <a:cubicBezTo>
                    <a:pt x="0" y="238"/>
                    <a:pt x="0" y="238"/>
                    <a:pt x="0" y="238"/>
                  </a:cubicBezTo>
                  <a:cubicBezTo>
                    <a:pt x="40" y="235"/>
                    <a:pt x="61" y="212"/>
                    <a:pt x="61" y="212"/>
                  </a:cubicBezTo>
                  <a:cubicBezTo>
                    <a:pt x="73" y="190"/>
                    <a:pt x="73" y="190"/>
                    <a:pt x="73" y="190"/>
                  </a:cubicBezTo>
                  <a:cubicBezTo>
                    <a:pt x="157" y="162"/>
                    <a:pt x="157" y="162"/>
                    <a:pt x="157" y="162"/>
                  </a:cubicBezTo>
                  <a:cubicBezTo>
                    <a:pt x="167" y="185"/>
                    <a:pt x="167" y="185"/>
                    <a:pt x="167" y="185"/>
                  </a:cubicBezTo>
                  <a:cubicBezTo>
                    <a:pt x="178" y="230"/>
                    <a:pt x="222" y="242"/>
                    <a:pt x="222" y="242"/>
                  </a:cubicBezTo>
                  <a:lnTo>
                    <a:pt x="230" y="128"/>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91"/>
            <p:cNvSpPr>
              <a:spLocks/>
            </p:cNvSpPr>
            <p:nvPr userDrawn="1"/>
          </p:nvSpPr>
          <p:spPr bwMode="auto">
            <a:xfrm>
              <a:off x="8001002" y="2745423"/>
              <a:ext cx="214313" cy="201613"/>
            </a:xfrm>
            <a:custGeom>
              <a:avLst/>
              <a:gdLst>
                <a:gd name="T0" fmla="*/ 24 w 144"/>
                <a:gd name="T1" fmla="*/ 51 h 136"/>
                <a:gd name="T2" fmla="*/ 24 w 144"/>
                <a:gd name="T3" fmla="*/ 0 h 136"/>
                <a:gd name="T4" fmla="*/ 120 w 144"/>
                <a:gd name="T5" fmla="*/ 0 h 136"/>
                <a:gd name="T6" fmla="*/ 120 w 144"/>
                <a:gd name="T7" fmla="*/ 51 h 136"/>
                <a:gd name="T8" fmla="*/ 133 w 144"/>
                <a:gd name="T9" fmla="*/ 64 h 136"/>
                <a:gd name="T10" fmla="*/ 144 w 144"/>
                <a:gd name="T11" fmla="*/ 64 h 136"/>
                <a:gd name="T12" fmla="*/ 72 w 144"/>
                <a:gd name="T13" fmla="*/ 136 h 136"/>
                <a:gd name="T14" fmla="*/ 0 w 144"/>
                <a:gd name="T15" fmla="*/ 64 h 136"/>
                <a:gd name="T16" fmla="*/ 10 w 144"/>
                <a:gd name="T17" fmla="*/ 64 h 136"/>
                <a:gd name="T18" fmla="*/ 24 w 144"/>
                <a:gd name="T19" fmla="*/ 5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36">
                  <a:moveTo>
                    <a:pt x="24" y="51"/>
                  </a:moveTo>
                  <a:cubicBezTo>
                    <a:pt x="24" y="0"/>
                    <a:pt x="24" y="0"/>
                    <a:pt x="24" y="0"/>
                  </a:cubicBezTo>
                  <a:cubicBezTo>
                    <a:pt x="120" y="0"/>
                    <a:pt x="120" y="0"/>
                    <a:pt x="120" y="0"/>
                  </a:cubicBezTo>
                  <a:cubicBezTo>
                    <a:pt x="120" y="51"/>
                    <a:pt x="120" y="51"/>
                    <a:pt x="120" y="51"/>
                  </a:cubicBezTo>
                  <a:cubicBezTo>
                    <a:pt x="120" y="58"/>
                    <a:pt x="126" y="64"/>
                    <a:pt x="133" y="64"/>
                  </a:cubicBezTo>
                  <a:cubicBezTo>
                    <a:pt x="144" y="64"/>
                    <a:pt x="144" y="64"/>
                    <a:pt x="144" y="64"/>
                  </a:cubicBezTo>
                  <a:cubicBezTo>
                    <a:pt x="144" y="103"/>
                    <a:pt x="111" y="136"/>
                    <a:pt x="72" y="136"/>
                  </a:cubicBezTo>
                  <a:cubicBezTo>
                    <a:pt x="32" y="136"/>
                    <a:pt x="0" y="103"/>
                    <a:pt x="0" y="64"/>
                  </a:cubicBezTo>
                  <a:cubicBezTo>
                    <a:pt x="10" y="64"/>
                    <a:pt x="10" y="64"/>
                    <a:pt x="10" y="64"/>
                  </a:cubicBezTo>
                  <a:cubicBezTo>
                    <a:pt x="18" y="64"/>
                    <a:pt x="24" y="58"/>
                    <a:pt x="24" y="51"/>
                  </a:cubicBez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Freeform 92"/>
            <p:cNvSpPr>
              <a:spLocks/>
            </p:cNvSpPr>
            <p:nvPr userDrawn="1"/>
          </p:nvSpPr>
          <p:spPr bwMode="auto">
            <a:xfrm>
              <a:off x="8037514" y="2745423"/>
              <a:ext cx="153988" cy="98425"/>
            </a:xfrm>
            <a:custGeom>
              <a:avLst/>
              <a:gdLst>
                <a:gd name="T0" fmla="*/ 104 w 104"/>
                <a:gd name="T1" fmla="*/ 63 h 66"/>
                <a:gd name="T2" fmla="*/ 96 w 104"/>
                <a:gd name="T3" fmla="*/ 51 h 66"/>
                <a:gd name="T4" fmla="*/ 96 w 104"/>
                <a:gd name="T5" fmla="*/ 0 h 66"/>
                <a:gd name="T6" fmla="*/ 0 w 104"/>
                <a:gd name="T7" fmla="*/ 0 h 66"/>
                <a:gd name="T8" fmla="*/ 0 w 104"/>
                <a:gd name="T9" fmla="*/ 22 h 66"/>
                <a:gd name="T10" fmla="*/ 104 w 104"/>
                <a:gd name="T11" fmla="*/ 63 h 66"/>
              </a:gdLst>
              <a:ahLst/>
              <a:cxnLst>
                <a:cxn ang="0">
                  <a:pos x="T0" y="T1"/>
                </a:cxn>
                <a:cxn ang="0">
                  <a:pos x="T2" y="T3"/>
                </a:cxn>
                <a:cxn ang="0">
                  <a:pos x="T4" y="T5"/>
                </a:cxn>
                <a:cxn ang="0">
                  <a:pos x="T6" y="T7"/>
                </a:cxn>
                <a:cxn ang="0">
                  <a:pos x="T8" y="T9"/>
                </a:cxn>
                <a:cxn ang="0">
                  <a:pos x="T10" y="T11"/>
                </a:cxn>
              </a:cxnLst>
              <a:rect l="0" t="0" r="r" b="b"/>
              <a:pathLst>
                <a:path w="104" h="66">
                  <a:moveTo>
                    <a:pt x="104" y="63"/>
                  </a:moveTo>
                  <a:cubicBezTo>
                    <a:pt x="99" y="61"/>
                    <a:pt x="96" y="56"/>
                    <a:pt x="96" y="51"/>
                  </a:cubicBezTo>
                  <a:cubicBezTo>
                    <a:pt x="96" y="0"/>
                    <a:pt x="96" y="0"/>
                    <a:pt x="96" y="0"/>
                  </a:cubicBezTo>
                  <a:cubicBezTo>
                    <a:pt x="0" y="0"/>
                    <a:pt x="0" y="0"/>
                    <a:pt x="0" y="0"/>
                  </a:cubicBezTo>
                  <a:cubicBezTo>
                    <a:pt x="0" y="22"/>
                    <a:pt x="0" y="22"/>
                    <a:pt x="0" y="22"/>
                  </a:cubicBezTo>
                  <a:cubicBezTo>
                    <a:pt x="34" y="66"/>
                    <a:pt x="104" y="63"/>
                    <a:pt x="104" y="63"/>
                  </a:cubicBezTo>
                  <a:close/>
                </a:path>
              </a:pathLst>
            </a:custGeom>
            <a:solidFill>
              <a:srgbClr val="E6C3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Freeform 93"/>
            <p:cNvSpPr>
              <a:spLocks/>
            </p:cNvSpPr>
            <p:nvPr userDrawn="1"/>
          </p:nvSpPr>
          <p:spPr bwMode="auto">
            <a:xfrm>
              <a:off x="8007352" y="2540635"/>
              <a:ext cx="252413" cy="279400"/>
            </a:xfrm>
            <a:custGeom>
              <a:avLst/>
              <a:gdLst>
                <a:gd name="T0" fmla="*/ 82 w 170"/>
                <a:gd name="T1" fmla="*/ 184 h 188"/>
                <a:gd name="T2" fmla="*/ 82 w 170"/>
                <a:gd name="T3" fmla="*/ 184 h 188"/>
                <a:gd name="T4" fmla="*/ 161 w 170"/>
                <a:gd name="T5" fmla="*/ 110 h 188"/>
                <a:gd name="T6" fmla="*/ 170 w 170"/>
                <a:gd name="T7" fmla="*/ 15 h 188"/>
                <a:gd name="T8" fmla="*/ 14 w 170"/>
                <a:gd name="T9" fmla="*/ 0 h 188"/>
                <a:gd name="T10" fmla="*/ 5 w 170"/>
                <a:gd name="T11" fmla="*/ 96 h 188"/>
                <a:gd name="T12" fmla="*/ 82 w 170"/>
                <a:gd name="T13" fmla="*/ 184 h 188"/>
              </a:gdLst>
              <a:ahLst/>
              <a:cxnLst>
                <a:cxn ang="0">
                  <a:pos x="T0" y="T1"/>
                </a:cxn>
                <a:cxn ang="0">
                  <a:pos x="T2" y="T3"/>
                </a:cxn>
                <a:cxn ang="0">
                  <a:pos x="T4" y="T5"/>
                </a:cxn>
                <a:cxn ang="0">
                  <a:pos x="T6" y="T7"/>
                </a:cxn>
                <a:cxn ang="0">
                  <a:pos x="T8" y="T9"/>
                </a:cxn>
                <a:cxn ang="0">
                  <a:pos x="T10" y="T11"/>
                </a:cxn>
                <a:cxn ang="0">
                  <a:pos x="T12" y="T13"/>
                </a:cxn>
              </a:cxnLst>
              <a:rect l="0" t="0" r="r" b="b"/>
              <a:pathLst>
                <a:path w="170" h="188">
                  <a:moveTo>
                    <a:pt x="82" y="184"/>
                  </a:moveTo>
                  <a:cubicBezTo>
                    <a:pt x="82" y="184"/>
                    <a:pt x="82" y="184"/>
                    <a:pt x="82" y="184"/>
                  </a:cubicBezTo>
                  <a:cubicBezTo>
                    <a:pt x="122" y="188"/>
                    <a:pt x="158" y="150"/>
                    <a:pt x="161" y="110"/>
                  </a:cubicBezTo>
                  <a:cubicBezTo>
                    <a:pt x="170" y="15"/>
                    <a:pt x="170" y="15"/>
                    <a:pt x="170" y="15"/>
                  </a:cubicBezTo>
                  <a:cubicBezTo>
                    <a:pt x="14" y="0"/>
                    <a:pt x="14" y="0"/>
                    <a:pt x="14" y="0"/>
                  </a:cubicBezTo>
                  <a:cubicBezTo>
                    <a:pt x="5" y="96"/>
                    <a:pt x="5" y="96"/>
                    <a:pt x="5" y="96"/>
                  </a:cubicBezTo>
                  <a:cubicBezTo>
                    <a:pt x="0" y="146"/>
                    <a:pt x="42" y="180"/>
                    <a:pt x="82" y="184"/>
                  </a:cubicBez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Freeform 94"/>
            <p:cNvSpPr>
              <a:spLocks/>
            </p:cNvSpPr>
            <p:nvPr userDrawn="1"/>
          </p:nvSpPr>
          <p:spPr bwMode="auto">
            <a:xfrm>
              <a:off x="8112127" y="2613660"/>
              <a:ext cx="144463" cy="196850"/>
            </a:xfrm>
            <a:custGeom>
              <a:avLst/>
              <a:gdLst>
                <a:gd name="T0" fmla="*/ 31 w 96"/>
                <a:gd name="T1" fmla="*/ 63 h 133"/>
                <a:gd name="T2" fmla="*/ 36 w 96"/>
                <a:gd name="T3" fmla="*/ 58 h 133"/>
                <a:gd name="T4" fmla="*/ 35 w 96"/>
                <a:gd name="T5" fmla="*/ 53 h 133"/>
                <a:gd name="T6" fmla="*/ 29 w 96"/>
                <a:gd name="T7" fmla="*/ 24 h 133"/>
                <a:gd name="T8" fmla="*/ 29 w 96"/>
                <a:gd name="T9" fmla="*/ 19 h 133"/>
                <a:gd name="T10" fmla="*/ 49 w 96"/>
                <a:gd name="T11" fmla="*/ 1 h 133"/>
                <a:gd name="T12" fmla="*/ 96 w 96"/>
                <a:gd name="T13" fmla="*/ 5 h 133"/>
                <a:gd name="T14" fmla="*/ 94 w 96"/>
                <a:gd name="T15" fmla="*/ 19 h 133"/>
                <a:gd name="T16" fmla="*/ 92 w 96"/>
                <a:gd name="T17" fmla="*/ 47 h 133"/>
                <a:gd name="T18" fmla="*/ 90 w 96"/>
                <a:gd name="T19" fmla="*/ 61 h 133"/>
                <a:gd name="T20" fmla="*/ 39 w 96"/>
                <a:gd name="T21" fmla="*/ 131 h 133"/>
                <a:gd name="T22" fmla="*/ 33 w 96"/>
                <a:gd name="T23" fmla="*/ 133 h 133"/>
                <a:gd name="T24" fmla="*/ 23 w 96"/>
                <a:gd name="T25" fmla="*/ 84 h 133"/>
                <a:gd name="T26" fmla="*/ 15 w 96"/>
                <a:gd name="T27" fmla="*/ 71 h 133"/>
                <a:gd name="T28" fmla="*/ 0 w 96"/>
                <a:gd name="T29" fmla="*/ 60 h 133"/>
                <a:gd name="T30" fmla="*/ 31 w 96"/>
                <a:gd name="T31" fmla="*/ 6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133">
                  <a:moveTo>
                    <a:pt x="31" y="63"/>
                  </a:moveTo>
                  <a:cubicBezTo>
                    <a:pt x="34" y="63"/>
                    <a:pt x="37" y="61"/>
                    <a:pt x="36" y="58"/>
                  </a:cubicBezTo>
                  <a:cubicBezTo>
                    <a:pt x="36" y="56"/>
                    <a:pt x="36" y="55"/>
                    <a:pt x="35" y="53"/>
                  </a:cubicBezTo>
                  <a:cubicBezTo>
                    <a:pt x="32" y="44"/>
                    <a:pt x="29" y="34"/>
                    <a:pt x="29" y="24"/>
                  </a:cubicBezTo>
                  <a:cubicBezTo>
                    <a:pt x="29" y="19"/>
                    <a:pt x="29" y="19"/>
                    <a:pt x="29" y="19"/>
                  </a:cubicBezTo>
                  <a:cubicBezTo>
                    <a:pt x="29" y="8"/>
                    <a:pt x="38" y="0"/>
                    <a:pt x="49" y="1"/>
                  </a:cubicBezTo>
                  <a:cubicBezTo>
                    <a:pt x="96" y="5"/>
                    <a:pt x="96" y="5"/>
                    <a:pt x="96" y="5"/>
                  </a:cubicBezTo>
                  <a:cubicBezTo>
                    <a:pt x="94" y="19"/>
                    <a:pt x="94" y="19"/>
                    <a:pt x="94" y="19"/>
                  </a:cubicBezTo>
                  <a:cubicBezTo>
                    <a:pt x="92" y="47"/>
                    <a:pt x="92" y="47"/>
                    <a:pt x="92" y="47"/>
                  </a:cubicBezTo>
                  <a:cubicBezTo>
                    <a:pt x="90" y="61"/>
                    <a:pt x="90" y="61"/>
                    <a:pt x="90" y="61"/>
                  </a:cubicBezTo>
                  <a:cubicBezTo>
                    <a:pt x="88" y="91"/>
                    <a:pt x="66" y="120"/>
                    <a:pt x="39" y="131"/>
                  </a:cubicBezTo>
                  <a:cubicBezTo>
                    <a:pt x="37" y="132"/>
                    <a:pt x="35" y="132"/>
                    <a:pt x="33" y="133"/>
                  </a:cubicBezTo>
                  <a:cubicBezTo>
                    <a:pt x="23" y="84"/>
                    <a:pt x="23" y="84"/>
                    <a:pt x="23" y="84"/>
                  </a:cubicBezTo>
                  <a:cubicBezTo>
                    <a:pt x="22" y="79"/>
                    <a:pt x="19" y="74"/>
                    <a:pt x="15" y="71"/>
                  </a:cubicBezTo>
                  <a:cubicBezTo>
                    <a:pt x="0" y="60"/>
                    <a:pt x="0" y="60"/>
                    <a:pt x="0" y="60"/>
                  </a:cubicBezTo>
                  <a:lnTo>
                    <a:pt x="31" y="63"/>
                  </a:lnTo>
                  <a:close/>
                </a:path>
              </a:pathLst>
            </a:custGeom>
            <a:solidFill>
              <a:srgbClr val="E6C3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Freeform 95"/>
            <p:cNvSpPr>
              <a:spLocks/>
            </p:cNvSpPr>
            <p:nvPr userDrawn="1"/>
          </p:nvSpPr>
          <p:spPr bwMode="auto">
            <a:xfrm>
              <a:off x="8094664" y="2735898"/>
              <a:ext cx="92075" cy="42863"/>
            </a:xfrm>
            <a:custGeom>
              <a:avLst/>
              <a:gdLst>
                <a:gd name="T0" fmla="*/ 0 w 62"/>
                <a:gd name="T1" fmla="*/ 0 h 29"/>
                <a:gd name="T2" fmla="*/ 29 w 62"/>
                <a:gd name="T3" fmla="*/ 28 h 29"/>
                <a:gd name="T4" fmla="*/ 62 w 62"/>
                <a:gd name="T5" fmla="*/ 6 h 29"/>
                <a:gd name="T6" fmla="*/ 0 w 62"/>
                <a:gd name="T7" fmla="*/ 0 h 29"/>
              </a:gdLst>
              <a:ahLst/>
              <a:cxnLst>
                <a:cxn ang="0">
                  <a:pos x="T0" y="T1"/>
                </a:cxn>
                <a:cxn ang="0">
                  <a:pos x="T2" y="T3"/>
                </a:cxn>
                <a:cxn ang="0">
                  <a:pos x="T4" y="T5"/>
                </a:cxn>
                <a:cxn ang="0">
                  <a:pos x="T6" y="T7"/>
                </a:cxn>
              </a:cxnLst>
              <a:rect l="0" t="0" r="r" b="b"/>
              <a:pathLst>
                <a:path w="62" h="29">
                  <a:moveTo>
                    <a:pt x="0" y="0"/>
                  </a:moveTo>
                  <a:cubicBezTo>
                    <a:pt x="5" y="16"/>
                    <a:pt x="15" y="26"/>
                    <a:pt x="29" y="28"/>
                  </a:cubicBezTo>
                  <a:cubicBezTo>
                    <a:pt x="42" y="29"/>
                    <a:pt x="55" y="20"/>
                    <a:pt x="62" y="6"/>
                  </a:cubicBezTo>
                  <a:lnTo>
                    <a:pt x="0" y="0"/>
                  </a:ln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Freeform 96"/>
            <p:cNvSpPr>
              <a:spLocks/>
            </p:cNvSpPr>
            <p:nvPr userDrawn="1"/>
          </p:nvSpPr>
          <p:spPr bwMode="auto">
            <a:xfrm>
              <a:off x="8094664" y="2735898"/>
              <a:ext cx="92075" cy="34925"/>
            </a:xfrm>
            <a:custGeom>
              <a:avLst/>
              <a:gdLst>
                <a:gd name="T0" fmla="*/ 0 w 62"/>
                <a:gd name="T1" fmla="*/ 0 h 23"/>
                <a:gd name="T2" fmla="*/ 29 w 62"/>
                <a:gd name="T3" fmla="*/ 22 h 23"/>
                <a:gd name="T4" fmla="*/ 62 w 62"/>
                <a:gd name="T5" fmla="*/ 6 h 23"/>
                <a:gd name="T6" fmla="*/ 0 w 62"/>
                <a:gd name="T7" fmla="*/ 0 h 23"/>
              </a:gdLst>
              <a:ahLst/>
              <a:cxnLst>
                <a:cxn ang="0">
                  <a:pos x="T0" y="T1"/>
                </a:cxn>
                <a:cxn ang="0">
                  <a:pos x="T2" y="T3"/>
                </a:cxn>
                <a:cxn ang="0">
                  <a:pos x="T4" y="T5"/>
                </a:cxn>
                <a:cxn ang="0">
                  <a:pos x="T6" y="T7"/>
                </a:cxn>
              </a:cxnLst>
              <a:rect l="0" t="0" r="r" b="b"/>
              <a:pathLst>
                <a:path w="62" h="23">
                  <a:moveTo>
                    <a:pt x="0" y="0"/>
                  </a:moveTo>
                  <a:cubicBezTo>
                    <a:pt x="5" y="16"/>
                    <a:pt x="16" y="21"/>
                    <a:pt x="29" y="22"/>
                  </a:cubicBezTo>
                  <a:cubicBezTo>
                    <a:pt x="43" y="23"/>
                    <a:pt x="55" y="20"/>
                    <a:pt x="62" y="6"/>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Freeform 97"/>
            <p:cNvSpPr>
              <a:spLocks/>
            </p:cNvSpPr>
            <p:nvPr userDrawn="1"/>
          </p:nvSpPr>
          <p:spPr bwMode="auto">
            <a:xfrm>
              <a:off x="8074027" y="2637473"/>
              <a:ext cx="26988" cy="23813"/>
            </a:xfrm>
            <a:custGeom>
              <a:avLst/>
              <a:gdLst>
                <a:gd name="T0" fmla="*/ 17 w 18"/>
                <a:gd name="T1" fmla="*/ 10 h 16"/>
                <a:gd name="T2" fmla="*/ 10 w 18"/>
                <a:gd name="T3" fmla="*/ 1 h 16"/>
                <a:gd name="T4" fmla="*/ 0 w 18"/>
                <a:gd name="T5" fmla="*/ 8 h 16"/>
                <a:gd name="T6" fmla="*/ 2 w 18"/>
                <a:gd name="T7" fmla="*/ 15 h 16"/>
                <a:gd name="T8" fmla="*/ 14 w 18"/>
                <a:gd name="T9" fmla="*/ 16 h 16"/>
                <a:gd name="T10" fmla="*/ 17 w 18"/>
                <a:gd name="T11" fmla="*/ 10 h 16"/>
              </a:gdLst>
              <a:ahLst/>
              <a:cxnLst>
                <a:cxn ang="0">
                  <a:pos x="T0" y="T1"/>
                </a:cxn>
                <a:cxn ang="0">
                  <a:pos x="T2" y="T3"/>
                </a:cxn>
                <a:cxn ang="0">
                  <a:pos x="T4" y="T5"/>
                </a:cxn>
                <a:cxn ang="0">
                  <a:pos x="T6" y="T7"/>
                </a:cxn>
                <a:cxn ang="0">
                  <a:pos x="T8" y="T9"/>
                </a:cxn>
                <a:cxn ang="0">
                  <a:pos x="T10" y="T11"/>
                </a:cxn>
              </a:cxnLst>
              <a:rect l="0" t="0" r="r" b="b"/>
              <a:pathLst>
                <a:path w="18" h="16">
                  <a:moveTo>
                    <a:pt x="17" y="10"/>
                  </a:moveTo>
                  <a:cubicBezTo>
                    <a:pt x="18" y="5"/>
                    <a:pt x="14" y="1"/>
                    <a:pt x="10" y="1"/>
                  </a:cubicBezTo>
                  <a:cubicBezTo>
                    <a:pt x="5" y="0"/>
                    <a:pt x="1" y="4"/>
                    <a:pt x="0" y="8"/>
                  </a:cubicBezTo>
                  <a:cubicBezTo>
                    <a:pt x="0" y="11"/>
                    <a:pt x="1" y="13"/>
                    <a:pt x="2" y="15"/>
                  </a:cubicBezTo>
                  <a:cubicBezTo>
                    <a:pt x="14" y="16"/>
                    <a:pt x="14" y="16"/>
                    <a:pt x="14" y="16"/>
                  </a:cubicBezTo>
                  <a:cubicBezTo>
                    <a:pt x="16" y="15"/>
                    <a:pt x="17" y="13"/>
                    <a:pt x="17"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Freeform 98"/>
            <p:cNvSpPr>
              <a:spLocks/>
            </p:cNvSpPr>
            <p:nvPr userDrawn="1"/>
          </p:nvSpPr>
          <p:spPr bwMode="auto">
            <a:xfrm>
              <a:off x="8199439" y="2648585"/>
              <a:ext cx="26988" cy="23813"/>
            </a:xfrm>
            <a:custGeom>
              <a:avLst/>
              <a:gdLst>
                <a:gd name="T0" fmla="*/ 18 w 18"/>
                <a:gd name="T1" fmla="*/ 10 h 16"/>
                <a:gd name="T2" fmla="*/ 10 w 18"/>
                <a:gd name="T3" fmla="*/ 0 h 16"/>
                <a:gd name="T4" fmla="*/ 1 w 18"/>
                <a:gd name="T5" fmla="*/ 8 h 16"/>
                <a:gd name="T6" fmla="*/ 3 w 18"/>
                <a:gd name="T7" fmla="*/ 15 h 16"/>
                <a:gd name="T8" fmla="*/ 14 w 18"/>
                <a:gd name="T9" fmla="*/ 16 h 16"/>
                <a:gd name="T10" fmla="*/ 18 w 18"/>
                <a:gd name="T11" fmla="*/ 10 h 16"/>
              </a:gdLst>
              <a:ahLst/>
              <a:cxnLst>
                <a:cxn ang="0">
                  <a:pos x="T0" y="T1"/>
                </a:cxn>
                <a:cxn ang="0">
                  <a:pos x="T2" y="T3"/>
                </a:cxn>
                <a:cxn ang="0">
                  <a:pos x="T4" y="T5"/>
                </a:cxn>
                <a:cxn ang="0">
                  <a:pos x="T6" y="T7"/>
                </a:cxn>
                <a:cxn ang="0">
                  <a:pos x="T8" y="T9"/>
                </a:cxn>
                <a:cxn ang="0">
                  <a:pos x="T10" y="T11"/>
                </a:cxn>
              </a:cxnLst>
              <a:rect l="0" t="0" r="r" b="b"/>
              <a:pathLst>
                <a:path w="18" h="16">
                  <a:moveTo>
                    <a:pt x="18" y="10"/>
                  </a:moveTo>
                  <a:cubicBezTo>
                    <a:pt x="18" y="5"/>
                    <a:pt x="15" y="1"/>
                    <a:pt x="10" y="0"/>
                  </a:cubicBezTo>
                  <a:cubicBezTo>
                    <a:pt x="5" y="0"/>
                    <a:pt x="1" y="4"/>
                    <a:pt x="1" y="8"/>
                  </a:cubicBezTo>
                  <a:cubicBezTo>
                    <a:pt x="0" y="11"/>
                    <a:pt x="1" y="13"/>
                    <a:pt x="3" y="15"/>
                  </a:cubicBezTo>
                  <a:cubicBezTo>
                    <a:pt x="14" y="16"/>
                    <a:pt x="14" y="16"/>
                    <a:pt x="14" y="16"/>
                  </a:cubicBezTo>
                  <a:cubicBezTo>
                    <a:pt x="16" y="15"/>
                    <a:pt x="17" y="12"/>
                    <a:pt x="18"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Freeform 99"/>
            <p:cNvSpPr>
              <a:spLocks/>
            </p:cNvSpPr>
            <p:nvPr userDrawn="1"/>
          </p:nvSpPr>
          <p:spPr bwMode="auto">
            <a:xfrm>
              <a:off x="7961314" y="2591435"/>
              <a:ext cx="25400" cy="73025"/>
            </a:xfrm>
            <a:custGeom>
              <a:avLst/>
              <a:gdLst>
                <a:gd name="T0" fmla="*/ 17 w 17"/>
                <a:gd name="T1" fmla="*/ 0 h 49"/>
                <a:gd name="T2" fmla="*/ 1 w 17"/>
                <a:gd name="T3" fmla="*/ 23 h 49"/>
                <a:gd name="T4" fmla="*/ 13 w 17"/>
                <a:gd name="T5" fmla="*/ 49 h 49"/>
                <a:gd name="T6" fmla="*/ 17 w 17"/>
                <a:gd name="T7" fmla="*/ 0 h 49"/>
              </a:gdLst>
              <a:ahLst/>
              <a:cxnLst>
                <a:cxn ang="0">
                  <a:pos x="T0" y="T1"/>
                </a:cxn>
                <a:cxn ang="0">
                  <a:pos x="T2" y="T3"/>
                </a:cxn>
                <a:cxn ang="0">
                  <a:pos x="T4" y="T5"/>
                </a:cxn>
                <a:cxn ang="0">
                  <a:pos x="T6" y="T7"/>
                </a:cxn>
              </a:cxnLst>
              <a:rect l="0" t="0" r="r" b="b"/>
              <a:pathLst>
                <a:path w="17" h="49">
                  <a:moveTo>
                    <a:pt x="17" y="0"/>
                  </a:moveTo>
                  <a:cubicBezTo>
                    <a:pt x="8" y="4"/>
                    <a:pt x="2" y="13"/>
                    <a:pt x="1" y="23"/>
                  </a:cubicBezTo>
                  <a:cubicBezTo>
                    <a:pt x="0" y="34"/>
                    <a:pt x="5" y="43"/>
                    <a:pt x="13" y="49"/>
                  </a:cubicBezTo>
                  <a:lnTo>
                    <a:pt x="17" y="0"/>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Freeform 100"/>
            <p:cNvSpPr>
              <a:spLocks/>
            </p:cNvSpPr>
            <p:nvPr userDrawn="1"/>
          </p:nvSpPr>
          <p:spPr bwMode="auto">
            <a:xfrm>
              <a:off x="7959727" y="2645410"/>
              <a:ext cx="22225" cy="23813"/>
            </a:xfrm>
            <a:custGeom>
              <a:avLst/>
              <a:gdLst>
                <a:gd name="T0" fmla="*/ 0 w 15"/>
                <a:gd name="T1" fmla="*/ 8 h 17"/>
                <a:gd name="T2" fmla="*/ 8 w 15"/>
                <a:gd name="T3" fmla="*/ 17 h 17"/>
                <a:gd name="T4" fmla="*/ 14 w 15"/>
                <a:gd name="T5" fmla="*/ 15 h 17"/>
                <a:gd name="T6" fmla="*/ 15 w 15"/>
                <a:gd name="T7" fmla="*/ 3 h 17"/>
                <a:gd name="T8" fmla="*/ 9 w 15"/>
                <a:gd name="T9" fmla="*/ 0 h 17"/>
                <a:gd name="T10" fmla="*/ 3 w 15"/>
                <a:gd name="T11" fmla="*/ 2 h 17"/>
                <a:gd name="T12" fmla="*/ 0 w 15"/>
                <a:gd name="T13" fmla="*/ 8 h 17"/>
              </a:gdLst>
              <a:ahLst/>
              <a:cxnLst>
                <a:cxn ang="0">
                  <a:pos x="T0" y="T1"/>
                </a:cxn>
                <a:cxn ang="0">
                  <a:pos x="T2" y="T3"/>
                </a:cxn>
                <a:cxn ang="0">
                  <a:pos x="T4" y="T5"/>
                </a:cxn>
                <a:cxn ang="0">
                  <a:pos x="T6" y="T7"/>
                </a:cxn>
                <a:cxn ang="0">
                  <a:pos x="T8" y="T9"/>
                </a:cxn>
                <a:cxn ang="0">
                  <a:pos x="T10" y="T11"/>
                </a:cxn>
                <a:cxn ang="0">
                  <a:pos x="T12" y="T13"/>
                </a:cxn>
              </a:cxnLst>
              <a:rect l="0" t="0" r="r" b="b"/>
              <a:pathLst>
                <a:path w="15" h="17">
                  <a:moveTo>
                    <a:pt x="0" y="8"/>
                  </a:moveTo>
                  <a:cubicBezTo>
                    <a:pt x="0" y="12"/>
                    <a:pt x="3" y="17"/>
                    <a:pt x="8" y="17"/>
                  </a:cubicBezTo>
                  <a:cubicBezTo>
                    <a:pt x="10" y="17"/>
                    <a:pt x="12" y="17"/>
                    <a:pt x="14" y="15"/>
                  </a:cubicBezTo>
                  <a:cubicBezTo>
                    <a:pt x="15" y="3"/>
                    <a:pt x="15" y="3"/>
                    <a:pt x="15" y="3"/>
                  </a:cubicBezTo>
                  <a:cubicBezTo>
                    <a:pt x="13" y="1"/>
                    <a:pt x="12" y="0"/>
                    <a:pt x="9" y="0"/>
                  </a:cubicBezTo>
                  <a:cubicBezTo>
                    <a:pt x="7" y="0"/>
                    <a:pt x="5" y="0"/>
                    <a:pt x="3" y="2"/>
                  </a:cubicBezTo>
                  <a:cubicBezTo>
                    <a:pt x="2" y="3"/>
                    <a:pt x="0" y="5"/>
                    <a:pt x="0" y="8"/>
                  </a:cubicBez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Freeform 101"/>
            <p:cNvSpPr>
              <a:spLocks/>
            </p:cNvSpPr>
            <p:nvPr userDrawn="1"/>
          </p:nvSpPr>
          <p:spPr bwMode="auto">
            <a:xfrm>
              <a:off x="8013702" y="2529523"/>
              <a:ext cx="249238" cy="92075"/>
            </a:xfrm>
            <a:custGeom>
              <a:avLst/>
              <a:gdLst>
                <a:gd name="T0" fmla="*/ 1 w 157"/>
                <a:gd name="T1" fmla="*/ 48 h 58"/>
                <a:gd name="T2" fmla="*/ 91 w 157"/>
                <a:gd name="T3" fmla="*/ 54 h 58"/>
                <a:gd name="T4" fmla="*/ 111 w 157"/>
                <a:gd name="T5" fmla="*/ 35 h 58"/>
                <a:gd name="T6" fmla="*/ 110 w 157"/>
                <a:gd name="T7" fmla="*/ 55 h 58"/>
                <a:gd name="T8" fmla="*/ 157 w 157"/>
                <a:gd name="T9" fmla="*/ 58 h 58"/>
                <a:gd name="T10" fmla="*/ 155 w 157"/>
                <a:gd name="T11" fmla="*/ 13 h 58"/>
                <a:gd name="T12" fmla="*/ 0 w 157"/>
                <a:gd name="T13" fmla="*/ 0 h 58"/>
                <a:gd name="T14" fmla="*/ 1 w 157"/>
                <a:gd name="T15" fmla="*/ 4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58">
                  <a:moveTo>
                    <a:pt x="1" y="48"/>
                  </a:moveTo>
                  <a:lnTo>
                    <a:pt x="91" y="54"/>
                  </a:lnTo>
                  <a:lnTo>
                    <a:pt x="111" y="35"/>
                  </a:lnTo>
                  <a:lnTo>
                    <a:pt x="110" y="55"/>
                  </a:lnTo>
                  <a:lnTo>
                    <a:pt x="157" y="58"/>
                  </a:lnTo>
                  <a:lnTo>
                    <a:pt x="155" y="13"/>
                  </a:lnTo>
                  <a:lnTo>
                    <a:pt x="0" y="0"/>
                  </a:lnTo>
                  <a:lnTo>
                    <a:pt x="1" y="48"/>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Freeform 102"/>
            <p:cNvSpPr>
              <a:spLocks/>
            </p:cNvSpPr>
            <p:nvPr userDrawn="1"/>
          </p:nvSpPr>
          <p:spPr bwMode="auto">
            <a:xfrm>
              <a:off x="8332789" y="292481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582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Freeform 103"/>
            <p:cNvSpPr>
              <a:spLocks/>
            </p:cNvSpPr>
            <p:nvPr userDrawn="1"/>
          </p:nvSpPr>
          <p:spPr bwMode="auto">
            <a:xfrm>
              <a:off x="8353427" y="3104198"/>
              <a:ext cx="4763" cy="58738"/>
            </a:xfrm>
            <a:custGeom>
              <a:avLst/>
              <a:gdLst>
                <a:gd name="T0" fmla="*/ 0 w 4"/>
                <a:gd name="T1" fmla="*/ 0 h 40"/>
                <a:gd name="T2" fmla="*/ 4 w 4"/>
                <a:gd name="T3" fmla="*/ 34 h 40"/>
                <a:gd name="T4" fmla="*/ 4 w 4"/>
                <a:gd name="T5" fmla="*/ 40 h 40"/>
                <a:gd name="T6" fmla="*/ 4 w 4"/>
                <a:gd name="T7" fmla="*/ 34 h 40"/>
                <a:gd name="T8" fmla="*/ 0 w 4"/>
                <a:gd name="T9" fmla="*/ 0 h 40"/>
              </a:gdLst>
              <a:ahLst/>
              <a:cxnLst>
                <a:cxn ang="0">
                  <a:pos x="T0" y="T1"/>
                </a:cxn>
                <a:cxn ang="0">
                  <a:pos x="T2" y="T3"/>
                </a:cxn>
                <a:cxn ang="0">
                  <a:pos x="T4" y="T5"/>
                </a:cxn>
                <a:cxn ang="0">
                  <a:pos x="T6" y="T7"/>
                </a:cxn>
                <a:cxn ang="0">
                  <a:pos x="T8" y="T9"/>
                </a:cxn>
              </a:cxnLst>
              <a:rect l="0" t="0" r="r" b="b"/>
              <a:pathLst>
                <a:path w="4" h="40">
                  <a:moveTo>
                    <a:pt x="0" y="0"/>
                  </a:moveTo>
                  <a:cubicBezTo>
                    <a:pt x="4" y="34"/>
                    <a:pt x="4" y="34"/>
                    <a:pt x="4" y="34"/>
                  </a:cubicBezTo>
                  <a:cubicBezTo>
                    <a:pt x="4" y="36"/>
                    <a:pt x="4" y="38"/>
                    <a:pt x="4" y="40"/>
                  </a:cubicBezTo>
                  <a:cubicBezTo>
                    <a:pt x="4" y="38"/>
                    <a:pt x="4" y="36"/>
                    <a:pt x="4" y="34"/>
                  </a:cubicBezTo>
                  <a:cubicBezTo>
                    <a:pt x="0" y="0"/>
                    <a:pt x="0" y="0"/>
                    <a:pt x="0" y="0"/>
                  </a:cubicBezTo>
                </a:path>
              </a:pathLst>
            </a:custGeom>
            <a:solidFill>
              <a:srgbClr val="582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Freeform 104"/>
            <p:cNvSpPr>
              <a:spLocks/>
            </p:cNvSpPr>
            <p:nvPr userDrawn="1"/>
          </p:nvSpPr>
          <p:spPr bwMode="auto">
            <a:xfrm>
              <a:off x="8301039" y="2991485"/>
              <a:ext cx="57150" cy="277813"/>
            </a:xfrm>
            <a:custGeom>
              <a:avLst/>
              <a:gdLst>
                <a:gd name="T0" fmla="*/ 26 w 39"/>
                <a:gd name="T1" fmla="*/ 0 h 187"/>
                <a:gd name="T2" fmla="*/ 32 w 39"/>
                <a:gd name="T3" fmla="*/ 51 h 187"/>
                <a:gd name="T4" fmla="*/ 32 w 39"/>
                <a:gd name="T5" fmla="*/ 54 h 187"/>
                <a:gd name="T6" fmla="*/ 14 w 39"/>
                <a:gd name="T7" fmla="*/ 54 h 187"/>
                <a:gd name="T8" fmla="*/ 20 w 39"/>
                <a:gd name="T9" fmla="*/ 112 h 187"/>
                <a:gd name="T10" fmla="*/ 18 w 39"/>
                <a:gd name="T11" fmla="*/ 124 h 187"/>
                <a:gd name="T12" fmla="*/ 0 w 39"/>
                <a:gd name="T13" fmla="*/ 187 h 187"/>
                <a:gd name="T14" fmla="*/ 24 w 39"/>
                <a:gd name="T15" fmla="*/ 172 h 187"/>
                <a:gd name="T16" fmla="*/ 37 w 39"/>
                <a:gd name="T17" fmla="*/ 132 h 187"/>
                <a:gd name="T18" fmla="*/ 39 w 39"/>
                <a:gd name="T19" fmla="*/ 116 h 187"/>
                <a:gd name="T20" fmla="*/ 39 w 39"/>
                <a:gd name="T21" fmla="*/ 110 h 187"/>
                <a:gd name="T22" fmla="*/ 35 w 39"/>
                <a:gd name="T23" fmla="*/ 76 h 187"/>
                <a:gd name="T24" fmla="*/ 26 w 39"/>
                <a:gd name="T2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187">
                  <a:moveTo>
                    <a:pt x="26" y="0"/>
                  </a:moveTo>
                  <a:cubicBezTo>
                    <a:pt x="32" y="51"/>
                    <a:pt x="32" y="51"/>
                    <a:pt x="32" y="51"/>
                  </a:cubicBezTo>
                  <a:cubicBezTo>
                    <a:pt x="32" y="54"/>
                    <a:pt x="32" y="54"/>
                    <a:pt x="32" y="54"/>
                  </a:cubicBezTo>
                  <a:cubicBezTo>
                    <a:pt x="14" y="54"/>
                    <a:pt x="14" y="54"/>
                    <a:pt x="14" y="54"/>
                  </a:cubicBezTo>
                  <a:cubicBezTo>
                    <a:pt x="20" y="112"/>
                    <a:pt x="20" y="112"/>
                    <a:pt x="20" y="112"/>
                  </a:cubicBezTo>
                  <a:cubicBezTo>
                    <a:pt x="20" y="116"/>
                    <a:pt x="20" y="120"/>
                    <a:pt x="18" y="124"/>
                  </a:cubicBezTo>
                  <a:cubicBezTo>
                    <a:pt x="0" y="187"/>
                    <a:pt x="0" y="187"/>
                    <a:pt x="0" y="187"/>
                  </a:cubicBezTo>
                  <a:cubicBezTo>
                    <a:pt x="24" y="172"/>
                    <a:pt x="24" y="172"/>
                    <a:pt x="24" y="172"/>
                  </a:cubicBezTo>
                  <a:cubicBezTo>
                    <a:pt x="37" y="132"/>
                    <a:pt x="37" y="132"/>
                    <a:pt x="37" y="132"/>
                  </a:cubicBezTo>
                  <a:cubicBezTo>
                    <a:pt x="38" y="126"/>
                    <a:pt x="39" y="121"/>
                    <a:pt x="39" y="116"/>
                  </a:cubicBezTo>
                  <a:cubicBezTo>
                    <a:pt x="39" y="114"/>
                    <a:pt x="39" y="112"/>
                    <a:pt x="39" y="110"/>
                  </a:cubicBezTo>
                  <a:cubicBezTo>
                    <a:pt x="35" y="76"/>
                    <a:pt x="35" y="76"/>
                    <a:pt x="35" y="76"/>
                  </a:cubicBezTo>
                  <a:cubicBezTo>
                    <a:pt x="26" y="0"/>
                    <a:pt x="26" y="0"/>
                    <a:pt x="26" y="0"/>
                  </a:cubicBezTo>
                </a:path>
              </a:pathLst>
            </a:custGeom>
            <a:solidFill>
              <a:srgbClr val="E6C9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Freeform 105"/>
            <p:cNvSpPr>
              <a:spLocks/>
            </p:cNvSpPr>
            <p:nvPr userDrawn="1"/>
          </p:nvSpPr>
          <p:spPr bwMode="auto">
            <a:xfrm>
              <a:off x="8339139" y="2991485"/>
              <a:ext cx="9525" cy="76200"/>
            </a:xfrm>
            <a:custGeom>
              <a:avLst/>
              <a:gdLst>
                <a:gd name="T0" fmla="*/ 0 w 6"/>
                <a:gd name="T1" fmla="*/ 0 h 48"/>
                <a:gd name="T2" fmla="*/ 6 w 6"/>
                <a:gd name="T3" fmla="*/ 48 h 48"/>
                <a:gd name="T4" fmla="*/ 6 w 6"/>
                <a:gd name="T5" fmla="*/ 48 h 48"/>
                <a:gd name="T6" fmla="*/ 0 w 6"/>
                <a:gd name="T7" fmla="*/ 0 h 48"/>
                <a:gd name="T8" fmla="*/ 0 w 6"/>
                <a:gd name="T9" fmla="*/ 0 h 48"/>
              </a:gdLst>
              <a:ahLst/>
              <a:cxnLst>
                <a:cxn ang="0">
                  <a:pos x="T0" y="T1"/>
                </a:cxn>
                <a:cxn ang="0">
                  <a:pos x="T2" y="T3"/>
                </a:cxn>
                <a:cxn ang="0">
                  <a:pos x="T4" y="T5"/>
                </a:cxn>
                <a:cxn ang="0">
                  <a:pos x="T6" y="T7"/>
                </a:cxn>
                <a:cxn ang="0">
                  <a:pos x="T8" y="T9"/>
                </a:cxn>
              </a:cxnLst>
              <a:rect l="0" t="0" r="r" b="b"/>
              <a:pathLst>
                <a:path w="6" h="48">
                  <a:moveTo>
                    <a:pt x="0" y="0"/>
                  </a:moveTo>
                  <a:lnTo>
                    <a:pt x="6" y="48"/>
                  </a:lnTo>
                  <a:lnTo>
                    <a:pt x="6" y="48"/>
                  </a:lnTo>
                  <a:lnTo>
                    <a:pt x="0" y="0"/>
                  </a:lnTo>
                  <a:lnTo>
                    <a:pt x="0" y="0"/>
                  </a:lnTo>
                  <a:close/>
                </a:path>
              </a:pathLst>
            </a:custGeom>
            <a:solidFill>
              <a:srgbClr val="E6C9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Freeform 106"/>
            <p:cNvSpPr>
              <a:spLocks/>
            </p:cNvSpPr>
            <p:nvPr userDrawn="1"/>
          </p:nvSpPr>
          <p:spPr bwMode="auto">
            <a:xfrm>
              <a:off x="8339139" y="2991485"/>
              <a:ext cx="9525" cy="76200"/>
            </a:xfrm>
            <a:custGeom>
              <a:avLst/>
              <a:gdLst>
                <a:gd name="T0" fmla="*/ 0 w 6"/>
                <a:gd name="T1" fmla="*/ 0 h 48"/>
                <a:gd name="T2" fmla="*/ 6 w 6"/>
                <a:gd name="T3" fmla="*/ 48 h 48"/>
                <a:gd name="T4" fmla="*/ 6 w 6"/>
                <a:gd name="T5" fmla="*/ 48 h 48"/>
                <a:gd name="T6" fmla="*/ 0 w 6"/>
                <a:gd name="T7" fmla="*/ 0 h 48"/>
                <a:gd name="T8" fmla="*/ 0 w 6"/>
                <a:gd name="T9" fmla="*/ 0 h 48"/>
              </a:gdLst>
              <a:ahLst/>
              <a:cxnLst>
                <a:cxn ang="0">
                  <a:pos x="T0" y="T1"/>
                </a:cxn>
                <a:cxn ang="0">
                  <a:pos x="T2" y="T3"/>
                </a:cxn>
                <a:cxn ang="0">
                  <a:pos x="T4" y="T5"/>
                </a:cxn>
                <a:cxn ang="0">
                  <a:pos x="T6" y="T7"/>
                </a:cxn>
                <a:cxn ang="0">
                  <a:pos x="T8" y="T9"/>
                </a:cxn>
              </a:cxnLst>
              <a:rect l="0" t="0" r="r" b="b"/>
              <a:pathLst>
                <a:path w="6" h="48">
                  <a:moveTo>
                    <a:pt x="0" y="0"/>
                  </a:moveTo>
                  <a:lnTo>
                    <a:pt x="6" y="48"/>
                  </a:lnTo>
                  <a:lnTo>
                    <a:pt x="6" y="48"/>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Freeform 107"/>
            <p:cNvSpPr>
              <a:spLocks/>
            </p:cNvSpPr>
            <p:nvPr userDrawn="1"/>
          </p:nvSpPr>
          <p:spPr bwMode="auto">
            <a:xfrm>
              <a:off x="8302627" y="2867660"/>
              <a:ext cx="46038" cy="203200"/>
            </a:xfrm>
            <a:custGeom>
              <a:avLst/>
              <a:gdLst>
                <a:gd name="T0" fmla="*/ 0 w 31"/>
                <a:gd name="T1" fmla="*/ 0 h 138"/>
                <a:gd name="T2" fmla="*/ 13 w 31"/>
                <a:gd name="T3" fmla="*/ 138 h 138"/>
                <a:gd name="T4" fmla="*/ 31 w 31"/>
                <a:gd name="T5" fmla="*/ 138 h 138"/>
                <a:gd name="T6" fmla="*/ 31 w 31"/>
                <a:gd name="T7" fmla="*/ 135 h 138"/>
                <a:gd name="T8" fmla="*/ 25 w 31"/>
                <a:gd name="T9" fmla="*/ 84 h 138"/>
                <a:gd name="T10" fmla="*/ 25 w 31"/>
                <a:gd name="T11" fmla="*/ 84 h 138"/>
                <a:gd name="T12" fmla="*/ 21 w 31"/>
                <a:gd name="T13" fmla="*/ 39 h 138"/>
                <a:gd name="T14" fmla="*/ 21 w 31"/>
                <a:gd name="T15" fmla="*/ 39 h 138"/>
                <a:gd name="T16" fmla="*/ 0 w 31"/>
                <a:gd name="T1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38">
                  <a:moveTo>
                    <a:pt x="0" y="0"/>
                  </a:moveTo>
                  <a:cubicBezTo>
                    <a:pt x="13" y="138"/>
                    <a:pt x="13" y="138"/>
                    <a:pt x="13" y="138"/>
                  </a:cubicBezTo>
                  <a:cubicBezTo>
                    <a:pt x="31" y="138"/>
                    <a:pt x="31" y="138"/>
                    <a:pt x="31" y="138"/>
                  </a:cubicBezTo>
                  <a:cubicBezTo>
                    <a:pt x="31" y="135"/>
                    <a:pt x="31" y="135"/>
                    <a:pt x="31" y="135"/>
                  </a:cubicBezTo>
                  <a:cubicBezTo>
                    <a:pt x="25" y="84"/>
                    <a:pt x="25" y="84"/>
                    <a:pt x="25" y="84"/>
                  </a:cubicBezTo>
                  <a:cubicBezTo>
                    <a:pt x="25" y="84"/>
                    <a:pt x="25" y="84"/>
                    <a:pt x="25" y="84"/>
                  </a:cubicBezTo>
                  <a:cubicBezTo>
                    <a:pt x="21" y="39"/>
                    <a:pt x="21" y="39"/>
                    <a:pt x="21" y="39"/>
                  </a:cubicBezTo>
                  <a:cubicBezTo>
                    <a:pt x="21" y="39"/>
                    <a:pt x="21" y="39"/>
                    <a:pt x="21" y="39"/>
                  </a:cubicBezTo>
                  <a:cubicBezTo>
                    <a:pt x="18" y="23"/>
                    <a:pt x="11" y="10"/>
                    <a:pt x="0" y="0"/>
                  </a:cubicBezTo>
                </a:path>
              </a:pathLst>
            </a:custGeom>
            <a:solidFill>
              <a:srgbClr val="EEE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Freeform 108"/>
            <p:cNvSpPr>
              <a:spLocks/>
            </p:cNvSpPr>
            <p:nvPr userDrawn="1"/>
          </p:nvSpPr>
          <p:spPr bwMode="auto">
            <a:xfrm>
              <a:off x="7881939" y="3918585"/>
              <a:ext cx="458788" cy="196850"/>
            </a:xfrm>
            <a:custGeom>
              <a:avLst/>
              <a:gdLst>
                <a:gd name="T0" fmla="*/ 308 w 308"/>
                <a:gd name="T1" fmla="*/ 132 h 132"/>
                <a:gd name="T2" fmla="*/ 297 w 308"/>
                <a:gd name="T3" fmla="*/ 54 h 132"/>
                <a:gd name="T4" fmla="*/ 234 w 308"/>
                <a:gd name="T5" fmla="*/ 0 h 132"/>
                <a:gd name="T6" fmla="*/ 73 w 308"/>
                <a:gd name="T7" fmla="*/ 0 h 132"/>
                <a:gd name="T8" fmla="*/ 11 w 308"/>
                <a:gd name="T9" fmla="*/ 54 h 132"/>
                <a:gd name="T10" fmla="*/ 0 w 308"/>
                <a:gd name="T11" fmla="*/ 132 h 132"/>
                <a:gd name="T12" fmla="*/ 308 w 308"/>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308" h="132">
                  <a:moveTo>
                    <a:pt x="308" y="132"/>
                  </a:moveTo>
                  <a:cubicBezTo>
                    <a:pt x="297" y="54"/>
                    <a:pt x="297" y="54"/>
                    <a:pt x="297" y="54"/>
                  </a:cubicBezTo>
                  <a:cubicBezTo>
                    <a:pt x="292" y="23"/>
                    <a:pt x="266" y="0"/>
                    <a:pt x="234" y="0"/>
                  </a:cubicBezTo>
                  <a:cubicBezTo>
                    <a:pt x="73" y="0"/>
                    <a:pt x="73" y="0"/>
                    <a:pt x="73" y="0"/>
                  </a:cubicBezTo>
                  <a:cubicBezTo>
                    <a:pt x="42" y="0"/>
                    <a:pt x="16" y="23"/>
                    <a:pt x="11" y="54"/>
                  </a:cubicBezTo>
                  <a:cubicBezTo>
                    <a:pt x="0" y="132"/>
                    <a:pt x="0" y="132"/>
                    <a:pt x="0" y="132"/>
                  </a:cubicBezTo>
                  <a:cubicBezTo>
                    <a:pt x="308" y="132"/>
                    <a:pt x="308" y="132"/>
                    <a:pt x="308" y="132"/>
                  </a:cubicBezTo>
                </a:path>
              </a:pathLst>
            </a:custGeom>
            <a:solidFill>
              <a:srgbClr val="7A4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09"/>
            <p:cNvSpPr>
              <a:spLocks/>
            </p:cNvSpPr>
            <p:nvPr userDrawn="1"/>
          </p:nvSpPr>
          <p:spPr bwMode="auto">
            <a:xfrm>
              <a:off x="7864477" y="3912235"/>
              <a:ext cx="498475" cy="292100"/>
            </a:xfrm>
            <a:custGeom>
              <a:avLst/>
              <a:gdLst>
                <a:gd name="T0" fmla="*/ 335 w 335"/>
                <a:gd name="T1" fmla="*/ 197 h 197"/>
                <a:gd name="T2" fmla="*/ 319 w 335"/>
                <a:gd name="T3" fmla="*/ 58 h 197"/>
                <a:gd name="T4" fmla="*/ 252 w 335"/>
                <a:gd name="T5" fmla="*/ 0 h 197"/>
                <a:gd name="T6" fmla="*/ 80 w 335"/>
                <a:gd name="T7" fmla="*/ 0 h 197"/>
                <a:gd name="T8" fmla="*/ 13 w 335"/>
                <a:gd name="T9" fmla="*/ 58 h 197"/>
                <a:gd name="T10" fmla="*/ 0 w 335"/>
                <a:gd name="T11" fmla="*/ 197 h 197"/>
                <a:gd name="T12" fmla="*/ 335 w 335"/>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335" h="197">
                  <a:moveTo>
                    <a:pt x="335" y="197"/>
                  </a:moveTo>
                  <a:cubicBezTo>
                    <a:pt x="319" y="58"/>
                    <a:pt x="319" y="58"/>
                    <a:pt x="319" y="58"/>
                  </a:cubicBezTo>
                  <a:cubicBezTo>
                    <a:pt x="314" y="24"/>
                    <a:pt x="286" y="0"/>
                    <a:pt x="252" y="0"/>
                  </a:cubicBezTo>
                  <a:cubicBezTo>
                    <a:pt x="80" y="0"/>
                    <a:pt x="80" y="0"/>
                    <a:pt x="80" y="0"/>
                  </a:cubicBezTo>
                  <a:cubicBezTo>
                    <a:pt x="46" y="0"/>
                    <a:pt x="18" y="24"/>
                    <a:pt x="13" y="58"/>
                  </a:cubicBezTo>
                  <a:cubicBezTo>
                    <a:pt x="0" y="197"/>
                    <a:pt x="0" y="197"/>
                    <a:pt x="0" y="197"/>
                  </a:cubicBezTo>
                  <a:cubicBezTo>
                    <a:pt x="335" y="197"/>
                    <a:pt x="335" y="197"/>
                    <a:pt x="335" y="19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10"/>
            <p:cNvSpPr>
              <a:spLocks/>
            </p:cNvSpPr>
            <p:nvPr userDrawn="1"/>
          </p:nvSpPr>
          <p:spPr bwMode="auto">
            <a:xfrm>
              <a:off x="8027989" y="3842385"/>
              <a:ext cx="166688" cy="157163"/>
            </a:xfrm>
            <a:custGeom>
              <a:avLst/>
              <a:gdLst>
                <a:gd name="T0" fmla="*/ 112 w 112"/>
                <a:gd name="T1" fmla="*/ 0 h 106"/>
                <a:gd name="T2" fmla="*/ 0 w 112"/>
                <a:gd name="T3" fmla="*/ 0 h 106"/>
                <a:gd name="T4" fmla="*/ 0 w 112"/>
                <a:gd name="T5" fmla="*/ 51 h 106"/>
                <a:gd name="T6" fmla="*/ 55 w 112"/>
                <a:gd name="T7" fmla="*/ 106 h 106"/>
                <a:gd name="T8" fmla="*/ 56 w 112"/>
                <a:gd name="T9" fmla="*/ 106 h 106"/>
                <a:gd name="T10" fmla="*/ 112 w 112"/>
                <a:gd name="T11" fmla="*/ 51 h 106"/>
                <a:gd name="T12" fmla="*/ 112 w 112"/>
                <a:gd name="T13" fmla="*/ 0 h 106"/>
              </a:gdLst>
              <a:ahLst/>
              <a:cxnLst>
                <a:cxn ang="0">
                  <a:pos x="T0" y="T1"/>
                </a:cxn>
                <a:cxn ang="0">
                  <a:pos x="T2" y="T3"/>
                </a:cxn>
                <a:cxn ang="0">
                  <a:pos x="T4" y="T5"/>
                </a:cxn>
                <a:cxn ang="0">
                  <a:pos x="T6" y="T7"/>
                </a:cxn>
                <a:cxn ang="0">
                  <a:pos x="T8" y="T9"/>
                </a:cxn>
                <a:cxn ang="0">
                  <a:pos x="T10" y="T11"/>
                </a:cxn>
                <a:cxn ang="0">
                  <a:pos x="T12" y="T13"/>
                </a:cxn>
              </a:cxnLst>
              <a:rect l="0" t="0" r="r" b="b"/>
              <a:pathLst>
                <a:path w="112" h="106">
                  <a:moveTo>
                    <a:pt x="112" y="0"/>
                  </a:moveTo>
                  <a:cubicBezTo>
                    <a:pt x="0" y="0"/>
                    <a:pt x="0" y="0"/>
                    <a:pt x="0" y="0"/>
                  </a:cubicBezTo>
                  <a:cubicBezTo>
                    <a:pt x="0" y="51"/>
                    <a:pt x="0" y="51"/>
                    <a:pt x="0" y="51"/>
                  </a:cubicBezTo>
                  <a:cubicBezTo>
                    <a:pt x="0" y="81"/>
                    <a:pt x="25" y="106"/>
                    <a:pt x="55" y="106"/>
                  </a:cubicBezTo>
                  <a:cubicBezTo>
                    <a:pt x="56" y="106"/>
                    <a:pt x="56" y="106"/>
                    <a:pt x="56" y="106"/>
                  </a:cubicBezTo>
                  <a:cubicBezTo>
                    <a:pt x="87" y="106"/>
                    <a:pt x="112" y="81"/>
                    <a:pt x="112" y="51"/>
                  </a:cubicBezTo>
                  <a:lnTo>
                    <a:pt x="112" y="0"/>
                  </a:ln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11"/>
            <p:cNvSpPr>
              <a:spLocks/>
            </p:cNvSpPr>
            <p:nvPr userDrawn="1"/>
          </p:nvSpPr>
          <p:spPr bwMode="auto">
            <a:xfrm>
              <a:off x="8110539" y="3890010"/>
              <a:ext cx="84138" cy="88900"/>
            </a:xfrm>
            <a:custGeom>
              <a:avLst/>
              <a:gdLst>
                <a:gd name="T0" fmla="*/ 27 w 56"/>
                <a:gd name="T1" fmla="*/ 14 h 60"/>
                <a:gd name="T2" fmla="*/ 14 w 56"/>
                <a:gd name="T3" fmla="*/ 18 h 60"/>
                <a:gd name="T4" fmla="*/ 0 w 56"/>
                <a:gd name="T5" fmla="*/ 15 h 60"/>
                <a:gd name="T6" fmla="*/ 0 w 56"/>
                <a:gd name="T7" fmla="*/ 22 h 60"/>
                <a:gd name="T8" fmla="*/ 38 w 56"/>
                <a:gd name="T9" fmla="*/ 60 h 60"/>
                <a:gd name="T10" fmla="*/ 56 w 56"/>
                <a:gd name="T11" fmla="*/ 19 h 60"/>
                <a:gd name="T12" fmla="*/ 56 w 56"/>
                <a:gd name="T13" fmla="*/ 0 h 60"/>
                <a:gd name="T14" fmla="*/ 56 w 56"/>
                <a:gd name="T15" fmla="*/ 0 h 60"/>
                <a:gd name="T16" fmla="*/ 27 w 56"/>
                <a:gd name="T17" fmla="*/ 1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0">
                  <a:moveTo>
                    <a:pt x="27" y="14"/>
                  </a:moveTo>
                  <a:cubicBezTo>
                    <a:pt x="14" y="18"/>
                    <a:pt x="14" y="18"/>
                    <a:pt x="14" y="18"/>
                  </a:cubicBezTo>
                  <a:cubicBezTo>
                    <a:pt x="5" y="21"/>
                    <a:pt x="0" y="15"/>
                    <a:pt x="0" y="15"/>
                  </a:cubicBezTo>
                  <a:cubicBezTo>
                    <a:pt x="0" y="22"/>
                    <a:pt x="0" y="22"/>
                    <a:pt x="0" y="22"/>
                  </a:cubicBezTo>
                  <a:cubicBezTo>
                    <a:pt x="6" y="42"/>
                    <a:pt x="24" y="53"/>
                    <a:pt x="38" y="60"/>
                  </a:cubicBezTo>
                  <a:cubicBezTo>
                    <a:pt x="49" y="50"/>
                    <a:pt x="56" y="35"/>
                    <a:pt x="56" y="19"/>
                  </a:cubicBezTo>
                  <a:cubicBezTo>
                    <a:pt x="56" y="0"/>
                    <a:pt x="56" y="0"/>
                    <a:pt x="56" y="0"/>
                  </a:cubicBezTo>
                  <a:cubicBezTo>
                    <a:pt x="56" y="0"/>
                    <a:pt x="56" y="0"/>
                    <a:pt x="56" y="0"/>
                  </a:cubicBezTo>
                  <a:cubicBezTo>
                    <a:pt x="47" y="6"/>
                    <a:pt x="38" y="11"/>
                    <a:pt x="27" y="14"/>
                  </a:cubicBezTo>
                  <a:close/>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12"/>
            <p:cNvSpPr>
              <a:spLocks/>
            </p:cNvSpPr>
            <p:nvPr userDrawn="1"/>
          </p:nvSpPr>
          <p:spPr bwMode="auto">
            <a:xfrm>
              <a:off x="7940677" y="3496310"/>
              <a:ext cx="317500" cy="258763"/>
            </a:xfrm>
            <a:custGeom>
              <a:avLst/>
              <a:gdLst>
                <a:gd name="T0" fmla="*/ 101 w 214"/>
                <a:gd name="T1" fmla="*/ 4 h 174"/>
                <a:gd name="T2" fmla="*/ 99 w 214"/>
                <a:gd name="T3" fmla="*/ 4 h 174"/>
                <a:gd name="T4" fmla="*/ 4 w 214"/>
                <a:gd name="T5" fmla="*/ 113 h 174"/>
                <a:gd name="T6" fmla="*/ 8 w 214"/>
                <a:gd name="T7" fmla="*/ 174 h 174"/>
                <a:gd name="T8" fmla="*/ 214 w 214"/>
                <a:gd name="T9" fmla="*/ 160 h 174"/>
                <a:gd name="T10" fmla="*/ 210 w 214"/>
                <a:gd name="T11" fmla="*/ 99 h 174"/>
                <a:gd name="T12" fmla="*/ 101 w 214"/>
                <a:gd name="T13" fmla="*/ 4 h 174"/>
              </a:gdLst>
              <a:ahLst/>
              <a:cxnLst>
                <a:cxn ang="0">
                  <a:pos x="T0" y="T1"/>
                </a:cxn>
                <a:cxn ang="0">
                  <a:pos x="T2" y="T3"/>
                </a:cxn>
                <a:cxn ang="0">
                  <a:pos x="T4" y="T5"/>
                </a:cxn>
                <a:cxn ang="0">
                  <a:pos x="T6" y="T7"/>
                </a:cxn>
                <a:cxn ang="0">
                  <a:pos x="T8" y="T9"/>
                </a:cxn>
                <a:cxn ang="0">
                  <a:pos x="T10" y="T11"/>
                </a:cxn>
                <a:cxn ang="0">
                  <a:pos x="T12" y="T13"/>
                </a:cxn>
              </a:cxnLst>
              <a:rect l="0" t="0" r="r" b="b"/>
              <a:pathLst>
                <a:path w="214" h="174">
                  <a:moveTo>
                    <a:pt x="101" y="4"/>
                  </a:moveTo>
                  <a:cubicBezTo>
                    <a:pt x="99" y="4"/>
                    <a:pt x="99" y="4"/>
                    <a:pt x="99" y="4"/>
                  </a:cubicBezTo>
                  <a:cubicBezTo>
                    <a:pt x="42" y="8"/>
                    <a:pt x="0" y="57"/>
                    <a:pt x="4" y="113"/>
                  </a:cubicBezTo>
                  <a:cubicBezTo>
                    <a:pt x="8" y="174"/>
                    <a:pt x="8" y="174"/>
                    <a:pt x="8" y="174"/>
                  </a:cubicBezTo>
                  <a:cubicBezTo>
                    <a:pt x="214" y="160"/>
                    <a:pt x="214" y="160"/>
                    <a:pt x="214" y="160"/>
                  </a:cubicBezTo>
                  <a:cubicBezTo>
                    <a:pt x="210" y="99"/>
                    <a:pt x="210" y="99"/>
                    <a:pt x="210" y="99"/>
                  </a:cubicBezTo>
                  <a:cubicBezTo>
                    <a:pt x="206" y="42"/>
                    <a:pt x="157" y="0"/>
                    <a:pt x="101" y="4"/>
                  </a:cubicBez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13"/>
            <p:cNvSpPr>
              <a:spLocks/>
            </p:cNvSpPr>
            <p:nvPr userDrawn="1"/>
          </p:nvSpPr>
          <p:spPr bwMode="auto">
            <a:xfrm>
              <a:off x="7964489" y="3609023"/>
              <a:ext cx="292100" cy="311150"/>
            </a:xfrm>
            <a:custGeom>
              <a:avLst/>
              <a:gdLst>
                <a:gd name="T0" fmla="*/ 192 w 197"/>
                <a:gd name="T1" fmla="*/ 107 h 210"/>
                <a:gd name="T2" fmla="*/ 130 w 197"/>
                <a:gd name="T3" fmla="*/ 200 h 210"/>
                <a:gd name="T4" fmla="*/ 111 w 197"/>
                <a:gd name="T5" fmla="*/ 210 h 210"/>
                <a:gd name="T6" fmla="*/ 75 w 197"/>
                <a:gd name="T7" fmla="*/ 204 h 210"/>
                <a:gd name="T8" fmla="*/ 6 w 197"/>
                <a:gd name="T9" fmla="*/ 120 h 210"/>
                <a:gd name="T10" fmla="*/ 2 w 197"/>
                <a:gd name="T11" fmla="*/ 52 h 210"/>
                <a:gd name="T12" fmla="*/ 38 w 197"/>
                <a:gd name="T13" fmla="*/ 8 h 210"/>
                <a:gd name="T14" fmla="*/ 146 w 197"/>
                <a:gd name="T15" fmla="*/ 1 h 210"/>
                <a:gd name="T16" fmla="*/ 187 w 197"/>
                <a:gd name="T17" fmla="*/ 40 h 210"/>
                <a:gd name="T18" fmla="*/ 192 w 197"/>
                <a:gd name="T19" fmla="*/ 10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210">
                  <a:moveTo>
                    <a:pt x="192" y="107"/>
                  </a:moveTo>
                  <a:cubicBezTo>
                    <a:pt x="197" y="148"/>
                    <a:pt x="168" y="186"/>
                    <a:pt x="130" y="200"/>
                  </a:cubicBezTo>
                  <a:cubicBezTo>
                    <a:pt x="111" y="210"/>
                    <a:pt x="111" y="210"/>
                    <a:pt x="111" y="210"/>
                  </a:cubicBezTo>
                  <a:cubicBezTo>
                    <a:pt x="75" y="204"/>
                    <a:pt x="75" y="204"/>
                    <a:pt x="75" y="204"/>
                  </a:cubicBezTo>
                  <a:cubicBezTo>
                    <a:pt x="36" y="195"/>
                    <a:pt x="7" y="160"/>
                    <a:pt x="6" y="120"/>
                  </a:cubicBezTo>
                  <a:cubicBezTo>
                    <a:pt x="2" y="52"/>
                    <a:pt x="2" y="52"/>
                    <a:pt x="2" y="52"/>
                  </a:cubicBezTo>
                  <a:cubicBezTo>
                    <a:pt x="0" y="31"/>
                    <a:pt x="16" y="10"/>
                    <a:pt x="38" y="8"/>
                  </a:cubicBezTo>
                  <a:cubicBezTo>
                    <a:pt x="146" y="1"/>
                    <a:pt x="146" y="1"/>
                    <a:pt x="146" y="1"/>
                  </a:cubicBezTo>
                  <a:cubicBezTo>
                    <a:pt x="167" y="0"/>
                    <a:pt x="186" y="18"/>
                    <a:pt x="187" y="40"/>
                  </a:cubicBezTo>
                  <a:lnTo>
                    <a:pt x="192" y="107"/>
                  </a:ln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14"/>
            <p:cNvSpPr>
              <a:spLocks/>
            </p:cNvSpPr>
            <p:nvPr userDrawn="1"/>
          </p:nvSpPr>
          <p:spPr bwMode="auto">
            <a:xfrm>
              <a:off x="8208964" y="3702685"/>
              <a:ext cx="58738" cy="58738"/>
            </a:xfrm>
            <a:custGeom>
              <a:avLst/>
              <a:gdLst>
                <a:gd name="T0" fmla="*/ 39 w 39"/>
                <a:gd name="T1" fmla="*/ 19 h 40"/>
                <a:gd name="T2" fmla="*/ 18 w 39"/>
                <a:gd name="T3" fmla="*/ 1 h 40"/>
                <a:gd name="T4" fmla="*/ 0 w 39"/>
                <a:gd name="T5" fmla="*/ 21 h 40"/>
                <a:gd name="T6" fmla="*/ 21 w 39"/>
                <a:gd name="T7" fmla="*/ 39 h 40"/>
                <a:gd name="T8" fmla="*/ 39 w 39"/>
                <a:gd name="T9" fmla="*/ 19 h 40"/>
              </a:gdLst>
              <a:ahLst/>
              <a:cxnLst>
                <a:cxn ang="0">
                  <a:pos x="T0" y="T1"/>
                </a:cxn>
                <a:cxn ang="0">
                  <a:pos x="T2" y="T3"/>
                </a:cxn>
                <a:cxn ang="0">
                  <a:pos x="T4" y="T5"/>
                </a:cxn>
                <a:cxn ang="0">
                  <a:pos x="T6" y="T7"/>
                </a:cxn>
                <a:cxn ang="0">
                  <a:pos x="T8" y="T9"/>
                </a:cxn>
              </a:cxnLst>
              <a:rect l="0" t="0" r="r" b="b"/>
              <a:pathLst>
                <a:path w="39" h="40">
                  <a:moveTo>
                    <a:pt x="39" y="19"/>
                  </a:moveTo>
                  <a:cubicBezTo>
                    <a:pt x="38" y="8"/>
                    <a:pt x="29" y="0"/>
                    <a:pt x="18" y="1"/>
                  </a:cubicBezTo>
                  <a:cubicBezTo>
                    <a:pt x="8" y="2"/>
                    <a:pt x="0" y="11"/>
                    <a:pt x="0" y="21"/>
                  </a:cubicBezTo>
                  <a:cubicBezTo>
                    <a:pt x="1" y="32"/>
                    <a:pt x="10" y="40"/>
                    <a:pt x="21" y="39"/>
                  </a:cubicBezTo>
                  <a:cubicBezTo>
                    <a:pt x="31" y="38"/>
                    <a:pt x="39" y="29"/>
                    <a:pt x="39" y="19"/>
                  </a:cubicBez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15"/>
            <p:cNvSpPr>
              <a:spLocks/>
            </p:cNvSpPr>
            <p:nvPr userDrawn="1"/>
          </p:nvSpPr>
          <p:spPr bwMode="auto">
            <a:xfrm>
              <a:off x="8091489" y="3651885"/>
              <a:ext cx="165100" cy="266700"/>
            </a:xfrm>
            <a:custGeom>
              <a:avLst/>
              <a:gdLst>
                <a:gd name="T0" fmla="*/ 106 w 111"/>
                <a:gd name="T1" fmla="*/ 78 h 180"/>
                <a:gd name="T2" fmla="*/ 101 w 111"/>
                <a:gd name="T3" fmla="*/ 17 h 180"/>
                <a:gd name="T4" fmla="*/ 73 w 111"/>
                <a:gd name="T5" fmla="*/ 1 h 180"/>
                <a:gd name="T6" fmla="*/ 44 w 111"/>
                <a:gd name="T7" fmla="*/ 3 h 180"/>
                <a:gd name="T8" fmla="*/ 17 w 111"/>
                <a:gd name="T9" fmla="*/ 34 h 180"/>
                <a:gd name="T10" fmla="*/ 17 w 111"/>
                <a:gd name="T11" fmla="*/ 34 h 180"/>
                <a:gd name="T12" fmla="*/ 17 w 111"/>
                <a:gd name="T13" fmla="*/ 34 h 180"/>
                <a:gd name="T14" fmla="*/ 21 w 111"/>
                <a:gd name="T15" fmla="*/ 51 h 180"/>
                <a:gd name="T16" fmla="*/ 31 w 111"/>
                <a:gd name="T17" fmla="*/ 70 h 180"/>
                <a:gd name="T18" fmla="*/ 27 w 111"/>
                <a:gd name="T19" fmla="*/ 77 h 180"/>
                <a:gd name="T20" fmla="*/ 20 w 111"/>
                <a:gd name="T21" fmla="*/ 77 h 180"/>
                <a:gd name="T22" fmla="*/ 2 w 111"/>
                <a:gd name="T23" fmla="*/ 79 h 180"/>
                <a:gd name="T24" fmla="*/ 0 w 111"/>
                <a:gd name="T25" fmla="*/ 79 h 180"/>
                <a:gd name="T26" fmla="*/ 2 w 111"/>
                <a:gd name="T27" fmla="*/ 80 h 180"/>
                <a:gd name="T28" fmla="*/ 12 w 111"/>
                <a:gd name="T29" fmla="*/ 84 h 180"/>
                <a:gd name="T30" fmla="*/ 38 w 111"/>
                <a:gd name="T31" fmla="*/ 151 h 180"/>
                <a:gd name="T32" fmla="*/ 25 w 111"/>
                <a:gd name="T33" fmla="*/ 147 h 180"/>
                <a:gd name="T34" fmla="*/ 10 w 111"/>
                <a:gd name="T35" fmla="*/ 158 h 180"/>
                <a:gd name="T36" fmla="*/ 25 w 111"/>
                <a:gd name="T37" fmla="*/ 153 h 180"/>
                <a:gd name="T38" fmla="*/ 37 w 111"/>
                <a:gd name="T39" fmla="*/ 154 h 180"/>
                <a:gd name="T40" fmla="*/ 28 w 111"/>
                <a:gd name="T41" fmla="*/ 180 h 180"/>
                <a:gd name="T42" fmla="*/ 51 w 111"/>
                <a:gd name="T43" fmla="*/ 171 h 180"/>
                <a:gd name="T44" fmla="*/ 106 w 111"/>
                <a:gd name="T45" fmla="*/ 7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180">
                  <a:moveTo>
                    <a:pt x="106" y="78"/>
                  </a:moveTo>
                  <a:cubicBezTo>
                    <a:pt x="101" y="17"/>
                    <a:pt x="101" y="17"/>
                    <a:pt x="101" y="17"/>
                  </a:cubicBezTo>
                  <a:cubicBezTo>
                    <a:pt x="96" y="7"/>
                    <a:pt x="85" y="0"/>
                    <a:pt x="73" y="1"/>
                  </a:cubicBezTo>
                  <a:cubicBezTo>
                    <a:pt x="44" y="3"/>
                    <a:pt x="44" y="3"/>
                    <a:pt x="44" y="3"/>
                  </a:cubicBezTo>
                  <a:cubicBezTo>
                    <a:pt x="28" y="4"/>
                    <a:pt x="16" y="18"/>
                    <a:pt x="17" y="34"/>
                  </a:cubicBezTo>
                  <a:cubicBezTo>
                    <a:pt x="17" y="34"/>
                    <a:pt x="17" y="34"/>
                    <a:pt x="17" y="34"/>
                  </a:cubicBezTo>
                  <a:cubicBezTo>
                    <a:pt x="17" y="34"/>
                    <a:pt x="17" y="34"/>
                    <a:pt x="17" y="34"/>
                  </a:cubicBezTo>
                  <a:cubicBezTo>
                    <a:pt x="17" y="40"/>
                    <a:pt x="19" y="46"/>
                    <a:pt x="21" y="51"/>
                  </a:cubicBezTo>
                  <a:cubicBezTo>
                    <a:pt x="31" y="70"/>
                    <a:pt x="31" y="70"/>
                    <a:pt x="31" y="70"/>
                  </a:cubicBezTo>
                  <a:cubicBezTo>
                    <a:pt x="33" y="73"/>
                    <a:pt x="31" y="77"/>
                    <a:pt x="27" y="77"/>
                  </a:cubicBezTo>
                  <a:cubicBezTo>
                    <a:pt x="20" y="77"/>
                    <a:pt x="20" y="77"/>
                    <a:pt x="20" y="77"/>
                  </a:cubicBezTo>
                  <a:cubicBezTo>
                    <a:pt x="2" y="79"/>
                    <a:pt x="2" y="79"/>
                    <a:pt x="2" y="79"/>
                  </a:cubicBezTo>
                  <a:cubicBezTo>
                    <a:pt x="0" y="79"/>
                    <a:pt x="0" y="79"/>
                    <a:pt x="0" y="79"/>
                  </a:cubicBezTo>
                  <a:cubicBezTo>
                    <a:pt x="2" y="80"/>
                    <a:pt x="2" y="80"/>
                    <a:pt x="2" y="80"/>
                  </a:cubicBezTo>
                  <a:cubicBezTo>
                    <a:pt x="5" y="82"/>
                    <a:pt x="9" y="84"/>
                    <a:pt x="12" y="84"/>
                  </a:cubicBezTo>
                  <a:cubicBezTo>
                    <a:pt x="25" y="93"/>
                    <a:pt x="46" y="114"/>
                    <a:pt x="38" y="151"/>
                  </a:cubicBezTo>
                  <a:cubicBezTo>
                    <a:pt x="35" y="148"/>
                    <a:pt x="30" y="146"/>
                    <a:pt x="25" y="147"/>
                  </a:cubicBezTo>
                  <a:cubicBezTo>
                    <a:pt x="16" y="147"/>
                    <a:pt x="10" y="152"/>
                    <a:pt x="10" y="158"/>
                  </a:cubicBezTo>
                  <a:cubicBezTo>
                    <a:pt x="14" y="155"/>
                    <a:pt x="19" y="153"/>
                    <a:pt x="25" y="153"/>
                  </a:cubicBezTo>
                  <a:cubicBezTo>
                    <a:pt x="30" y="152"/>
                    <a:pt x="34" y="153"/>
                    <a:pt x="37" y="154"/>
                  </a:cubicBezTo>
                  <a:cubicBezTo>
                    <a:pt x="35" y="162"/>
                    <a:pt x="32" y="171"/>
                    <a:pt x="28" y="180"/>
                  </a:cubicBezTo>
                  <a:cubicBezTo>
                    <a:pt x="51" y="171"/>
                    <a:pt x="51" y="171"/>
                    <a:pt x="51" y="171"/>
                  </a:cubicBezTo>
                  <a:cubicBezTo>
                    <a:pt x="89" y="157"/>
                    <a:pt x="111" y="119"/>
                    <a:pt x="106" y="78"/>
                  </a:cubicBezTo>
                  <a:close/>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16"/>
            <p:cNvSpPr>
              <a:spLocks/>
            </p:cNvSpPr>
            <p:nvPr userDrawn="1"/>
          </p:nvSpPr>
          <p:spPr bwMode="auto">
            <a:xfrm>
              <a:off x="7940677" y="3721735"/>
              <a:ext cx="60325" cy="58738"/>
            </a:xfrm>
            <a:custGeom>
              <a:avLst/>
              <a:gdLst>
                <a:gd name="T0" fmla="*/ 39 w 40"/>
                <a:gd name="T1" fmla="*/ 18 h 39"/>
                <a:gd name="T2" fmla="*/ 18 w 40"/>
                <a:gd name="T3" fmla="*/ 0 h 39"/>
                <a:gd name="T4" fmla="*/ 0 w 40"/>
                <a:gd name="T5" fmla="*/ 21 h 39"/>
                <a:gd name="T6" fmla="*/ 21 w 40"/>
                <a:gd name="T7" fmla="*/ 39 h 39"/>
                <a:gd name="T8" fmla="*/ 39 w 40"/>
                <a:gd name="T9" fmla="*/ 18 h 39"/>
              </a:gdLst>
              <a:ahLst/>
              <a:cxnLst>
                <a:cxn ang="0">
                  <a:pos x="T0" y="T1"/>
                </a:cxn>
                <a:cxn ang="0">
                  <a:pos x="T2" y="T3"/>
                </a:cxn>
                <a:cxn ang="0">
                  <a:pos x="T4" y="T5"/>
                </a:cxn>
                <a:cxn ang="0">
                  <a:pos x="T6" y="T7"/>
                </a:cxn>
                <a:cxn ang="0">
                  <a:pos x="T8" y="T9"/>
                </a:cxn>
              </a:cxnLst>
              <a:rect l="0" t="0" r="r" b="b"/>
              <a:pathLst>
                <a:path w="40" h="39">
                  <a:moveTo>
                    <a:pt x="39" y="18"/>
                  </a:moveTo>
                  <a:cubicBezTo>
                    <a:pt x="38" y="8"/>
                    <a:pt x="29" y="0"/>
                    <a:pt x="18" y="0"/>
                  </a:cubicBezTo>
                  <a:cubicBezTo>
                    <a:pt x="8" y="1"/>
                    <a:pt x="0" y="10"/>
                    <a:pt x="0" y="21"/>
                  </a:cubicBezTo>
                  <a:cubicBezTo>
                    <a:pt x="1" y="31"/>
                    <a:pt x="10" y="39"/>
                    <a:pt x="21" y="39"/>
                  </a:cubicBezTo>
                  <a:cubicBezTo>
                    <a:pt x="32" y="38"/>
                    <a:pt x="40" y="29"/>
                    <a:pt x="39" y="18"/>
                  </a:cubicBez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117"/>
            <p:cNvSpPr>
              <a:spLocks/>
            </p:cNvSpPr>
            <p:nvPr userDrawn="1"/>
          </p:nvSpPr>
          <p:spPr bwMode="auto">
            <a:xfrm>
              <a:off x="7967664" y="3691573"/>
              <a:ext cx="288925" cy="228600"/>
            </a:xfrm>
            <a:custGeom>
              <a:avLst/>
              <a:gdLst>
                <a:gd name="T0" fmla="*/ 190 w 194"/>
                <a:gd name="T1" fmla="*/ 53 h 155"/>
                <a:gd name="T2" fmla="*/ 186 w 194"/>
                <a:gd name="T3" fmla="*/ 0 h 155"/>
                <a:gd name="T4" fmla="*/ 142 w 194"/>
                <a:gd name="T5" fmla="*/ 81 h 155"/>
                <a:gd name="T6" fmla="*/ 102 w 194"/>
                <a:gd name="T7" fmla="*/ 63 h 155"/>
                <a:gd name="T8" fmla="*/ 101 w 194"/>
                <a:gd name="T9" fmla="*/ 63 h 155"/>
                <a:gd name="T10" fmla="*/ 63 w 194"/>
                <a:gd name="T11" fmla="*/ 86 h 155"/>
                <a:gd name="T12" fmla="*/ 0 w 194"/>
                <a:gd name="T13" fmla="*/ 14 h 155"/>
                <a:gd name="T14" fmla="*/ 3 w 194"/>
                <a:gd name="T15" fmla="*/ 65 h 155"/>
                <a:gd name="T16" fmla="*/ 108 w 194"/>
                <a:gd name="T17" fmla="*/ 155 h 155"/>
                <a:gd name="T18" fmla="*/ 134 w 194"/>
                <a:gd name="T19" fmla="*/ 145 h 155"/>
                <a:gd name="T20" fmla="*/ 190 w 194"/>
                <a:gd name="T21" fmla="*/ 5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4" h="155">
                  <a:moveTo>
                    <a:pt x="190" y="53"/>
                  </a:moveTo>
                  <a:cubicBezTo>
                    <a:pt x="186" y="0"/>
                    <a:pt x="186" y="0"/>
                    <a:pt x="186" y="0"/>
                  </a:cubicBezTo>
                  <a:cubicBezTo>
                    <a:pt x="187" y="34"/>
                    <a:pt x="171" y="65"/>
                    <a:pt x="142" y="81"/>
                  </a:cubicBezTo>
                  <a:cubicBezTo>
                    <a:pt x="133" y="69"/>
                    <a:pt x="118" y="61"/>
                    <a:pt x="102" y="63"/>
                  </a:cubicBezTo>
                  <a:cubicBezTo>
                    <a:pt x="101" y="63"/>
                    <a:pt x="101" y="63"/>
                    <a:pt x="101" y="63"/>
                  </a:cubicBezTo>
                  <a:cubicBezTo>
                    <a:pt x="85" y="64"/>
                    <a:pt x="71" y="73"/>
                    <a:pt x="63" y="86"/>
                  </a:cubicBezTo>
                  <a:cubicBezTo>
                    <a:pt x="33" y="74"/>
                    <a:pt x="4" y="47"/>
                    <a:pt x="0" y="14"/>
                  </a:cubicBezTo>
                  <a:cubicBezTo>
                    <a:pt x="3" y="65"/>
                    <a:pt x="3" y="65"/>
                    <a:pt x="3" y="65"/>
                  </a:cubicBezTo>
                  <a:cubicBezTo>
                    <a:pt x="4" y="154"/>
                    <a:pt x="108" y="155"/>
                    <a:pt x="108" y="155"/>
                  </a:cubicBezTo>
                  <a:cubicBezTo>
                    <a:pt x="134" y="145"/>
                    <a:pt x="134" y="145"/>
                    <a:pt x="134" y="145"/>
                  </a:cubicBezTo>
                  <a:cubicBezTo>
                    <a:pt x="172" y="131"/>
                    <a:pt x="194" y="93"/>
                    <a:pt x="190" y="53"/>
                  </a:cubicBez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Freeform 118"/>
            <p:cNvSpPr>
              <a:spLocks/>
            </p:cNvSpPr>
            <p:nvPr userDrawn="1"/>
          </p:nvSpPr>
          <p:spPr bwMode="auto">
            <a:xfrm>
              <a:off x="8080377" y="3821748"/>
              <a:ext cx="82550" cy="38100"/>
            </a:xfrm>
            <a:custGeom>
              <a:avLst/>
              <a:gdLst>
                <a:gd name="T0" fmla="*/ 0 w 56"/>
                <a:gd name="T1" fmla="*/ 4 h 26"/>
                <a:gd name="T2" fmla="*/ 30 w 56"/>
                <a:gd name="T3" fmla="*/ 25 h 26"/>
                <a:gd name="T4" fmla="*/ 56 w 56"/>
                <a:gd name="T5" fmla="*/ 0 h 26"/>
                <a:gd name="T6" fmla="*/ 0 w 56"/>
                <a:gd name="T7" fmla="*/ 4 h 26"/>
              </a:gdLst>
              <a:ahLst/>
              <a:cxnLst>
                <a:cxn ang="0">
                  <a:pos x="T0" y="T1"/>
                </a:cxn>
                <a:cxn ang="0">
                  <a:pos x="T2" y="T3"/>
                </a:cxn>
                <a:cxn ang="0">
                  <a:pos x="T4" y="T5"/>
                </a:cxn>
                <a:cxn ang="0">
                  <a:pos x="T6" y="T7"/>
                </a:cxn>
              </a:cxnLst>
              <a:rect l="0" t="0" r="r" b="b"/>
              <a:pathLst>
                <a:path w="56" h="26">
                  <a:moveTo>
                    <a:pt x="0" y="4"/>
                  </a:moveTo>
                  <a:cubicBezTo>
                    <a:pt x="4" y="17"/>
                    <a:pt x="16" y="26"/>
                    <a:pt x="30" y="25"/>
                  </a:cubicBezTo>
                  <a:cubicBezTo>
                    <a:pt x="44" y="24"/>
                    <a:pt x="55" y="13"/>
                    <a:pt x="56" y="0"/>
                  </a:cubicBez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Freeform 119"/>
            <p:cNvSpPr>
              <a:spLocks/>
            </p:cNvSpPr>
            <p:nvPr userDrawn="1"/>
          </p:nvSpPr>
          <p:spPr bwMode="auto">
            <a:xfrm>
              <a:off x="8161339" y="3693160"/>
              <a:ext cx="26988" cy="25400"/>
            </a:xfrm>
            <a:custGeom>
              <a:avLst/>
              <a:gdLst>
                <a:gd name="T0" fmla="*/ 18 w 18"/>
                <a:gd name="T1" fmla="*/ 8 h 18"/>
                <a:gd name="T2" fmla="*/ 9 w 18"/>
                <a:gd name="T3" fmla="*/ 0 h 18"/>
                <a:gd name="T4" fmla="*/ 0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3" y="0"/>
                    <a:pt x="9" y="0"/>
                  </a:cubicBezTo>
                  <a:cubicBezTo>
                    <a:pt x="4" y="0"/>
                    <a:pt x="0" y="5"/>
                    <a:pt x="0"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Freeform 120"/>
            <p:cNvSpPr>
              <a:spLocks/>
            </p:cNvSpPr>
            <p:nvPr userDrawn="1"/>
          </p:nvSpPr>
          <p:spPr bwMode="auto">
            <a:xfrm>
              <a:off x="8048627" y="3699510"/>
              <a:ext cx="26988" cy="26988"/>
            </a:xfrm>
            <a:custGeom>
              <a:avLst/>
              <a:gdLst>
                <a:gd name="T0" fmla="*/ 18 w 18"/>
                <a:gd name="T1" fmla="*/ 8 h 18"/>
                <a:gd name="T2" fmla="*/ 9 w 18"/>
                <a:gd name="T3" fmla="*/ 0 h 18"/>
                <a:gd name="T4" fmla="*/ 1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4" y="0"/>
                    <a:pt x="9" y="0"/>
                  </a:cubicBezTo>
                  <a:cubicBezTo>
                    <a:pt x="4" y="0"/>
                    <a:pt x="0" y="5"/>
                    <a:pt x="1"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121"/>
            <p:cNvSpPr>
              <a:spLocks/>
            </p:cNvSpPr>
            <p:nvPr userDrawn="1"/>
          </p:nvSpPr>
          <p:spPr bwMode="auto">
            <a:xfrm>
              <a:off x="8283577" y="3934460"/>
              <a:ext cx="268288" cy="390525"/>
            </a:xfrm>
            <a:custGeom>
              <a:avLst/>
              <a:gdLst>
                <a:gd name="T0" fmla="*/ 126 w 180"/>
                <a:gd name="T1" fmla="*/ 9 h 264"/>
                <a:gd name="T2" fmla="*/ 118 w 180"/>
                <a:gd name="T3" fmla="*/ 23 h 264"/>
                <a:gd name="T4" fmla="*/ 103 w 180"/>
                <a:gd name="T5" fmla="*/ 42 h 264"/>
                <a:gd name="T6" fmla="*/ 103 w 180"/>
                <a:gd name="T7" fmla="*/ 16 h 264"/>
                <a:gd name="T8" fmla="*/ 83 w 180"/>
                <a:gd name="T9" fmla="*/ 7 h 264"/>
                <a:gd name="T10" fmla="*/ 82 w 180"/>
                <a:gd name="T11" fmla="*/ 64 h 264"/>
                <a:gd name="T12" fmla="*/ 88 w 180"/>
                <a:gd name="T13" fmla="*/ 75 h 264"/>
                <a:gd name="T14" fmla="*/ 87 w 180"/>
                <a:gd name="T15" fmla="*/ 75 h 264"/>
                <a:gd name="T16" fmla="*/ 0 w 180"/>
                <a:gd name="T17" fmla="*/ 182 h 264"/>
                <a:gd name="T18" fmla="*/ 0 w 180"/>
                <a:gd name="T19" fmla="*/ 263 h 264"/>
                <a:gd name="T20" fmla="*/ 7 w 180"/>
                <a:gd name="T21" fmla="*/ 263 h 264"/>
                <a:gd name="T22" fmla="*/ 12 w 180"/>
                <a:gd name="T23" fmla="*/ 263 h 264"/>
                <a:gd name="T24" fmla="*/ 61 w 180"/>
                <a:gd name="T25" fmla="*/ 238 h 264"/>
                <a:gd name="T26" fmla="*/ 135 w 180"/>
                <a:gd name="T27" fmla="*/ 106 h 264"/>
                <a:gd name="T28" fmla="*/ 165 w 180"/>
                <a:gd name="T29" fmla="*/ 73 h 264"/>
                <a:gd name="T30" fmla="*/ 177 w 180"/>
                <a:gd name="T31" fmla="*/ 53 h 264"/>
                <a:gd name="T32" fmla="*/ 173 w 180"/>
                <a:gd name="T33" fmla="*/ 40 h 264"/>
                <a:gd name="T34" fmla="*/ 168 w 180"/>
                <a:gd name="T35" fmla="*/ 38 h 264"/>
                <a:gd name="T36" fmla="*/ 164 w 180"/>
                <a:gd name="T37" fmla="*/ 26 h 264"/>
                <a:gd name="T38" fmla="*/ 158 w 180"/>
                <a:gd name="T39" fmla="*/ 24 h 264"/>
                <a:gd name="T40" fmla="*/ 158 w 180"/>
                <a:gd name="T41" fmla="*/ 24 h 264"/>
                <a:gd name="T42" fmla="*/ 154 w 180"/>
                <a:gd name="T43" fmla="*/ 10 h 264"/>
                <a:gd name="T44" fmla="*/ 144 w 180"/>
                <a:gd name="T45" fmla="*/ 11 h 264"/>
                <a:gd name="T46" fmla="*/ 140 w 180"/>
                <a:gd name="T47" fmla="*/ 6 h 264"/>
                <a:gd name="T48" fmla="*/ 126 w 180"/>
                <a:gd name="T49" fmla="*/ 9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0" h="264">
                  <a:moveTo>
                    <a:pt x="126" y="9"/>
                  </a:moveTo>
                  <a:cubicBezTo>
                    <a:pt x="118" y="23"/>
                    <a:pt x="118" y="23"/>
                    <a:pt x="118" y="23"/>
                  </a:cubicBezTo>
                  <a:cubicBezTo>
                    <a:pt x="103" y="42"/>
                    <a:pt x="103" y="42"/>
                    <a:pt x="103" y="42"/>
                  </a:cubicBezTo>
                  <a:cubicBezTo>
                    <a:pt x="103" y="16"/>
                    <a:pt x="103" y="16"/>
                    <a:pt x="103" y="16"/>
                  </a:cubicBezTo>
                  <a:cubicBezTo>
                    <a:pt x="103" y="16"/>
                    <a:pt x="96" y="0"/>
                    <a:pt x="83" y="7"/>
                  </a:cubicBezTo>
                  <a:cubicBezTo>
                    <a:pt x="85" y="52"/>
                    <a:pt x="79" y="49"/>
                    <a:pt x="82" y="64"/>
                  </a:cubicBezTo>
                  <a:cubicBezTo>
                    <a:pt x="82" y="66"/>
                    <a:pt x="87" y="74"/>
                    <a:pt x="88" y="75"/>
                  </a:cubicBezTo>
                  <a:cubicBezTo>
                    <a:pt x="87" y="75"/>
                    <a:pt x="87" y="75"/>
                    <a:pt x="87" y="75"/>
                  </a:cubicBezTo>
                  <a:cubicBezTo>
                    <a:pt x="0" y="182"/>
                    <a:pt x="0" y="182"/>
                    <a:pt x="0" y="182"/>
                  </a:cubicBezTo>
                  <a:cubicBezTo>
                    <a:pt x="0" y="263"/>
                    <a:pt x="0" y="263"/>
                    <a:pt x="0" y="263"/>
                  </a:cubicBezTo>
                  <a:cubicBezTo>
                    <a:pt x="0" y="263"/>
                    <a:pt x="4" y="263"/>
                    <a:pt x="7" y="263"/>
                  </a:cubicBezTo>
                  <a:cubicBezTo>
                    <a:pt x="9" y="263"/>
                    <a:pt x="12" y="263"/>
                    <a:pt x="12" y="263"/>
                  </a:cubicBezTo>
                  <a:cubicBezTo>
                    <a:pt x="31" y="264"/>
                    <a:pt x="50" y="255"/>
                    <a:pt x="61" y="238"/>
                  </a:cubicBezTo>
                  <a:cubicBezTo>
                    <a:pt x="135" y="106"/>
                    <a:pt x="135" y="106"/>
                    <a:pt x="135" y="106"/>
                  </a:cubicBezTo>
                  <a:cubicBezTo>
                    <a:pt x="165" y="73"/>
                    <a:pt x="165" y="73"/>
                    <a:pt x="165" y="73"/>
                  </a:cubicBezTo>
                  <a:cubicBezTo>
                    <a:pt x="177" y="53"/>
                    <a:pt x="177" y="53"/>
                    <a:pt x="177" y="53"/>
                  </a:cubicBezTo>
                  <a:cubicBezTo>
                    <a:pt x="180" y="49"/>
                    <a:pt x="178" y="43"/>
                    <a:pt x="173" y="40"/>
                  </a:cubicBezTo>
                  <a:cubicBezTo>
                    <a:pt x="172" y="39"/>
                    <a:pt x="170" y="38"/>
                    <a:pt x="168" y="38"/>
                  </a:cubicBezTo>
                  <a:cubicBezTo>
                    <a:pt x="170" y="34"/>
                    <a:pt x="168" y="28"/>
                    <a:pt x="164" y="26"/>
                  </a:cubicBezTo>
                  <a:cubicBezTo>
                    <a:pt x="162" y="25"/>
                    <a:pt x="160" y="24"/>
                    <a:pt x="158" y="24"/>
                  </a:cubicBezTo>
                  <a:cubicBezTo>
                    <a:pt x="158" y="24"/>
                    <a:pt x="158" y="24"/>
                    <a:pt x="158" y="24"/>
                  </a:cubicBezTo>
                  <a:cubicBezTo>
                    <a:pt x="161" y="19"/>
                    <a:pt x="159" y="13"/>
                    <a:pt x="154" y="10"/>
                  </a:cubicBezTo>
                  <a:cubicBezTo>
                    <a:pt x="151" y="8"/>
                    <a:pt x="147" y="9"/>
                    <a:pt x="144" y="11"/>
                  </a:cubicBezTo>
                  <a:cubicBezTo>
                    <a:pt x="143" y="9"/>
                    <a:pt x="142" y="7"/>
                    <a:pt x="140" y="6"/>
                  </a:cubicBezTo>
                  <a:cubicBezTo>
                    <a:pt x="135" y="3"/>
                    <a:pt x="129" y="5"/>
                    <a:pt x="126" y="9"/>
                  </a:cubicBezTo>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Freeform 122"/>
            <p:cNvSpPr>
              <a:spLocks/>
            </p:cNvSpPr>
            <p:nvPr userDrawn="1"/>
          </p:nvSpPr>
          <p:spPr bwMode="auto">
            <a:xfrm>
              <a:off x="8283577" y="3934460"/>
              <a:ext cx="250825" cy="301625"/>
            </a:xfrm>
            <a:custGeom>
              <a:avLst/>
              <a:gdLst>
                <a:gd name="T0" fmla="*/ 154 w 168"/>
                <a:gd name="T1" fmla="*/ 50 h 204"/>
                <a:gd name="T2" fmla="*/ 131 w 168"/>
                <a:gd name="T3" fmla="*/ 37 h 204"/>
                <a:gd name="T4" fmla="*/ 107 w 168"/>
                <a:gd name="T5" fmla="*/ 37 h 204"/>
                <a:gd name="T6" fmla="*/ 103 w 168"/>
                <a:gd name="T7" fmla="*/ 42 h 204"/>
                <a:gd name="T8" fmla="*/ 103 w 168"/>
                <a:gd name="T9" fmla="*/ 16 h 204"/>
                <a:gd name="T10" fmla="*/ 83 w 168"/>
                <a:gd name="T11" fmla="*/ 7 h 204"/>
                <a:gd name="T12" fmla="*/ 82 w 168"/>
                <a:gd name="T13" fmla="*/ 64 h 204"/>
                <a:gd name="T14" fmla="*/ 88 w 168"/>
                <a:gd name="T15" fmla="*/ 75 h 204"/>
                <a:gd name="T16" fmla="*/ 87 w 168"/>
                <a:gd name="T17" fmla="*/ 75 h 204"/>
                <a:gd name="T18" fmla="*/ 65 w 168"/>
                <a:gd name="T19" fmla="*/ 102 h 204"/>
                <a:gd name="T20" fmla="*/ 0 w 168"/>
                <a:gd name="T21" fmla="*/ 182 h 204"/>
                <a:gd name="T22" fmla="*/ 0 w 168"/>
                <a:gd name="T23" fmla="*/ 204 h 204"/>
                <a:gd name="T24" fmla="*/ 89 w 168"/>
                <a:gd name="T25" fmla="*/ 95 h 204"/>
                <a:gd name="T26" fmla="*/ 132 w 168"/>
                <a:gd name="T27" fmla="*/ 87 h 204"/>
                <a:gd name="T28" fmla="*/ 159 w 168"/>
                <a:gd name="T29" fmla="*/ 75 h 204"/>
                <a:gd name="T30" fmla="*/ 164 w 168"/>
                <a:gd name="T31" fmla="*/ 67 h 204"/>
                <a:gd name="T32" fmla="*/ 168 w 168"/>
                <a:gd name="T33" fmla="*/ 60 h 204"/>
                <a:gd name="T34" fmla="*/ 154 w 168"/>
                <a:gd name="T35" fmla="*/ 5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8" h="204">
                  <a:moveTo>
                    <a:pt x="154" y="50"/>
                  </a:moveTo>
                  <a:cubicBezTo>
                    <a:pt x="147" y="46"/>
                    <a:pt x="139" y="41"/>
                    <a:pt x="131" y="37"/>
                  </a:cubicBezTo>
                  <a:cubicBezTo>
                    <a:pt x="107" y="37"/>
                    <a:pt x="107" y="37"/>
                    <a:pt x="107" y="37"/>
                  </a:cubicBezTo>
                  <a:cubicBezTo>
                    <a:pt x="103" y="42"/>
                    <a:pt x="103" y="42"/>
                    <a:pt x="103" y="42"/>
                  </a:cubicBezTo>
                  <a:cubicBezTo>
                    <a:pt x="103" y="16"/>
                    <a:pt x="103" y="16"/>
                    <a:pt x="103" y="16"/>
                  </a:cubicBezTo>
                  <a:cubicBezTo>
                    <a:pt x="103" y="16"/>
                    <a:pt x="96" y="0"/>
                    <a:pt x="83" y="7"/>
                  </a:cubicBezTo>
                  <a:cubicBezTo>
                    <a:pt x="85" y="52"/>
                    <a:pt x="79" y="49"/>
                    <a:pt x="82" y="64"/>
                  </a:cubicBezTo>
                  <a:cubicBezTo>
                    <a:pt x="82" y="66"/>
                    <a:pt x="87" y="74"/>
                    <a:pt x="88" y="75"/>
                  </a:cubicBezTo>
                  <a:cubicBezTo>
                    <a:pt x="87" y="75"/>
                    <a:pt x="87" y="75"/>
                    <a:pt x="87" y="75"/>
                  </a:cubicBezTo>
                  <a:cubicBezTo>
                    <a:pt x="65" y="102"/>
                    <a:pt x="65" y="102"/>
                    <a:pt x="65" y="102"/>
                  </a:cubicBezTo>
                  <a:cubicBezTo>
                    <a:pt x="0" y="182"/>
                    <a:pt x="0" y="182"/>
                    <a:pt x="0" y="182"/>
                  </a:cubicBezTo>
                  <a:cubicBezTo>
                    <a:pt x="0" y="204"/>
                    <a:pt x="0" y="204"/>
                    <a:pt x="0" y="204"/>
                  </a:cubicBezTo>
                  <a:cubicBezTo>
                    <a:pt x="89" y="95"/>
                    <a:pt x="89" y="95"/>
                    <a:pt x="89" y="95"/>
                  </a:cubicBezTo>
                  <a:cubicBezTo>
                    <a:pt x="102" y="90"/>
                    <a:pt x="118" y="90"/>
                    <a:pt x="132" y="87"/>
                  </a:cubicBezTo>
                  <a:cubicBezTo>
                    <a:pt x="142" y="85"/>
                    <a:pt x="152" y="82"/>
                    <a:pt x="159" y="75"/>
                  </a:cubicBezTo>
                  <a:cubicBezTo>
                    <a:pt x="161" y="73"/>
                    <a:pt x="162" y="70"/>
                    <a:pt x="164" y="67"/>
                  </a:cubicBezTo>
                  <a:cubicBezTo>
                    <a:pt x="165" y="65"/>
                    <a:pt x="167" y="62"/>
                    <a:pt x="168" y="60"/>
                  </a:cubicBezTo>
                  <a:cubicBezTo>
                    <a:pt x="163" y="57"/>
                    <a:pt x="158" y="53"/>
                    <a:pt x="154" y="50"/>
                  </a:cubicBezTo>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 name="Freeform 123"/>
            <p:cNvSpPr>
              <a:spLocks/>
            </p:cNvSpPr>
            <p:nvPr userDrawn="1"/>
          </p:nvSpPr>
          <p:spPr bwMode="auto">
            <a:xfrm>
              <a:off x="8578852" y="4082098"/>
              <a:ext cx="11113" cy="9525"/>
            </a:xfrm>
            <a:custGeom>
              <a:avLst/>
              <a:gdLst>
                <a:gd name="T0" fmla="*/ 4 w 7"/>
                <a:gd name="T1" fmla="*/ 6 h 6"/>
                <a:gd name="T2" fmla="*/ 0 w 7"/>
                <a:gd name="T3" fmla="*/ 3 h 6"/>
                <a:gd name="T4" fmla="*/ 2 w 7"/>
                <a:gd name="T5" fmla="*/ 0 h 6"/>
                <a:gd name="T6" fmla="*/ 6 w 7"/>
                <a:gd name="T7" fmla="*/ 3 h 6"/>
                <a:gd name="T8" fmla="*/ 6 w 7"/>
                <a:gd name="T9" fmla="*/ 5 h 6"/>
                <a:gd name="T10" fmla="*/ 4 w 7"/>
                <a:gd name="T11" fmla="*/ 6 h 6"/>
              </a:gdLst>
              <a:ahLst/>
              <a:cxnLst>
                <a:cxn ang="0">
                  <a:pos x="T0" y="T1"/>
                </a:cxn>
                <a:cxn ang="0">
                  <a:pos x="T2" y="T3"/>
                </a:cxn>
                <a:cxn ang="0">
                  <a:pos x="T4" y="T5"/>
                </a:cxn>
                <a:cxn ang="0">
                  <a:pos x="T6" y="T7"/>
                </a:cxn>
                <a:cxn ang="0">
                  <a:pos x="T8" y="T9"/>
                </a:cxn>
                <a:cxn ang="0">
                  <a:pos x="T10" y="T11"/>
                </a:cxn>
              </a:cxnLst>
              <a:rect l="0" t="0" r="r" b="b"/>
              <a:pathLst>
                <a:path w="7" h="6">
                  <a:moveTo>
                    <a:pt x="4" y="6"/>
                  </a:moveTo>
                  <a:cubicBezTo>
                    <a:pt x="0" y="3"/>
                    <a:pt x="0" y="3"/>
                    <a:pt x="0" y="3"/>
                  </a:cubicBezTo>
                  <a:cubicBezTo>
                    <a:pt x="2" y="0"/>
                    <a:pt x="2" y="0"/>
                    <a:pt x="2" y="0"/>
                  </a:cubicBezTo>
                  <a:cubicBezTo>
                    <a:pt x="6" y="3"/>
                    <a:pt x="6" y="3"/>
                    <a:pt x="6" y="3"/>
                  </a:cubicBezTo>
                  <a:cubicBezTo>
                    <a:pt x="6" y="4"/>
                    <a:pt x="7" y="5"/>
                    <a:pt x="6" y="5"/>
                  </a:cubicBezTo>
                  <a:cubicBezTo>
                    <a:pt x="5" y="6"/>
                    <a:pt x="4" y="6"/>
                    <a:pt x="4" y="6"/>
                  </a:cubicBezTo>
                  <a:close/>
                </a:path>
              </a:pathLst>
            </a:custGeom>
            <a:solidFill>
              <a:srgbClr val="E7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124"/>
            <p:cNvSpPr>
              <a:spLocks/>
            </p:cNvSpPr>
            <p:nvPr userDrawn="1"/>
          </p:nvSpPr>
          <p:spPr bwMode="auto">
            <a:xfrm>
              <a:off x="8377239" y="3937635"/>
              <a:ext cx="184150" cy="144463"/>
            </a:xfrm>
            <a:custGeom>
              <a:avLst/>
              <a:gdLst>
                <a:gd name="T0" fmla="*/ 0 w 116"/>
                <a:gd name="T1" fmla="*/ 4 h 91"/>
                <a:gd name="T2" fmla="*/ 113 w 116"/>
                <a:gd name="T3" fmla="*/ 91 h 91"/>
                <a:gd name="T4" fmla="*/ 116 w 116"/>
                <a:gd name="T5" fmla="*/ 87 h 91"/>
                <a:gd name="T6" fmla="*/ 4 w 116"/>
                <a:gd name="T7" fmla="*/ 0 h 91"/>
                <a:gd name="T8" fmla="*/ 0 w 116"/>
                <a:gd name="T9" fmla="*/ 4 h 91"/>
              </a:gdLst>
              <a:ahLst/>
              <a:cxnLst>
                <a:cxn ang="0">
                  <a:pos x="T0" y="T1"/>
                </a:cxn>
                <a:cxn ang="0">
                  <a:pos x="T2" y="T3"/>
                </a:cxn>
                <a:cxn ang="0">
                  <a:pos x="T4" y="T5"/>
                </a:cxn>
                <a:cxn ang="0">
                  <a:pos x="T6" y="T7"/>
                </a:cxn>
                <a:cxn ang="0">
                  <a:pos x="T8" y="T9"/>
                </a:cxn>
              </a:cxnLst>
              <a:rect l="0" t="0" r="r" b="b"/>
              <a:pathLst>
                <a:path w="116" h="91">
                  <a:moveTo>
                    <a:pt x="0" y="4"/>
                  </a:moveTo>
                  <a:lnTo>
                    <a:pt x="113" y="91"/>
                  </a:lnTo>
                  <a:lnTo>
                    <a:pt x="116" y="87"/>
                  </a:lnTo>
                  <a:lnTo>
                    <a:pt x="4" y="0"/>
                  </a:lnTo>
                  <a:lnTo>
                    <a:pt x="0" y="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125"/>
            <p:cNvSpPr>
              <a:spLocks/>
            </p:cNvSpPr>
            <p:nvPr userDrawn="1"/>
          </p:nvSpPr>
          <p:spPr bwMode="auto">
            <a:xfrm>
              <a:off x="8377239" y="3937635"/>
              <a:ext cx="184150" cy="144463"/>
            </a:xfrm>
            <a:custGeom>
              <a:avLst/>
              <a:gdLst>
                <a:gd name="T0" fmla="*/ 0 w 116"/>
                <a:gd name="T1" fmla="*/ 4 h 91"/>
                <a:gd name="T2" fmla="*/ 113 w 116"/>
                <a:gd name="T3" fmla="*/ 91 h 91"/>
                <a:gd name="T4" fmla="*/ 116 w 116"/>
                <a:gd name="T5" fmla="*/ 87 h 91"/>
                <a:gd name="T6" fmla="*/ 4 w 116"/>
                <a:gd name="T7" fmla="*/ 0 h 91"/>
                <a:gd name="T8" fmla="*/ 0 w 116"/>
                <a:gd name="T9" fmla="*/ 4 h 91"/>
              </a:gdLst>
              <a:ahLst/>
              <a:cxnLst>
                <a:cxn ang="0">
                  <a:pos x="T0" y="T1"/>
                </a:cxn>
                <a:cxn ang="0">
                  <a:pos x="T2" y="T3"/>
                </a:cxn>
                <a:cxn ang="0">
                  <a:pos x="T4" y="T5"/>
                </a:cxn>
                <a:cxn ang="0">
                  <a:pos x="T6" y="T7"/>
                </a:cxn>
                <a:cxn ang="0">
                  <a:pos x="T8" y="T9"/>
                </a:cxn>
              </a:cxnLst>
              <a:rect l="0" t="0" r="r" b="b"/>
              <a:pathLst>
                <a:path w="116" h="91">
                  <a:moveTo>
                    <a:pt x="0" y="4"/>
                  </a:moveTo>
                  <a:lnTo>
                    <a:pt x="113" y="91"/>
                  </a:lnTo>
                  <a:lnTo>
                    <a:pt x="116" y="87"/>
                  </a:lnTo>
                  <a:lnTo>
                    <a:pt x="4" y="0"/>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Freeform 126"/>
            <p:cNvSpPr>
              <a:spLocks/>
            </p:cNvSpPr>
            <p:nvPr userDrawn="1"/>
          </p:nvSpPr>
          <p:spPr bwMode="auto">
            <a:xfrm>
              <a:off x="8377239" y="3923348"/>
              <a:ext cx="195263" cy="158750"/>
            </a:xfrm>
            <a:custGeom>
              <a:avLst/>
              <a:gdLst>
                <a:gd name="T0" fmla="*/ 11 w 123"/>
                <a:gd name="T1" fmla="*/ 0 h 100"/>
                <a:gd name="T2" fmla="*/ 4 w 123"/>
                <a:gd name="T3" fmla="*/ 9 h 100"/>
                <a:gd name="T4" fmla="*/ 0 w 123"/>
                <a:gd name="T5" fmla="*/ 13 h 100"/>
                <a:gd name="T6" fmla="*/ 113 w 123"/>
                <a:gd name="T7" fmla="*/ 100 h 100"/>
                <a:gd name="T8" fmla="*/ 116 w 123"/>
                <a:gd name="T9" fmla="*/ 96 h 100"/>
                <a:gd name="T10" fmla="*/ 123 w 123"/>
                <a:gd name="T11" fmla="*/ 87 h 100"/>
                <a:gd name="T12" fmla="*/ 11 w 123"/>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123" h="100">
                  <a:moveTo>
                    <a:pt x="11" y="0"/>
                  </a:moveTo>
                  <a:lnTo>
                    <a:pt x="4" y="9"/>
                  </a:lnTo>
                  <a:lnTo>
                    <a:pt x="0" y="13"/>
                  </a:lnTo>
                  <a:lnTo>
                    <a:pt x="113" y="100"/>
                  </a:lnTo>
                  <a:lnTo>
                    <a:pt x="116" y="96"/>
                  </a:lnTo>
                  <a:lnTo>
                    <a:pt x="123" y="87"/>
                  </a:lnTo>
                  <a:lnTo>
                    <a:pt x="11" y="0"/>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Freeform 127"/>
            <p:cNvSpPr>
              <a:spLocks/>
            </p:cNvSpPr>
            <p:nvPr userDrawn="1"/>
          </p:nvSpPr>
          <p:spPr bwMode="auto">
            <a:xfrm>
              <a:off x="8377239" y="3923348"/>
              <a:ext cx="195263" cy="158750"/>
            </a:xfrm>
            <a:custGeom>
              <a:avLst/>
              <a:gdLst>
                <a:gd name="T0" fmla="*/ 11 w 123"/>
                <a:gd name="T1" fmla="*/ 0 h 100"/>
                <a:gd name="T2" fmla="*/ 4 w 123"/>
                <a:gd name="T3" fmla="*/ 9 h 100"/>
                <a:gd name="T4" fmla="*/ 0 w 123"/>
                <a:gd name="T5" fmla="*/ 13 h 100"/>
                <a:gd name="T6" fmla="*/ 113 w 123"/>
                <a:gd name="T7" fmla="*/ 100 h 100"/>
                <a:gd name="T8" fmla="*/ 116 w 123"/>
                <a:gd name="T9" fmla="*/ 96 h 100"/>
                <a:gd name="T10" fmla="*/ 123 w 123"/>
                <a:gd name="T11" fmla="*/ 87 h 100"/>
                <a:gd name="T12" fmla="*/ 11 w 123"/>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123" h="100">
                  <a:moveTo>
                    <a:pt x="11" y="0"/>
                  </a:moveTo>
                  <a:lnTo>
                    <a:pt x="4" y="9"/>
                  </a:lnTo>
                  <a:lnTo>
                    <a:pt x="0" y="13"/>
                  </a:lnTo>
                  <a:lnTo>
                    <a:pt x="113" y="100"/>
                  </a:lnTo>
                  <a:lnTo>
                    <a:pt x="116" y="96"/>
                  </a:lnTo>
                  <a:lnTo>
                    <a:pt x="123" y="87"/>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128"/>
            <p:cNvSpPr>
              <a:spLocks/>
            </p:cNvSpPr>
            <p:nvPr userDrawn="1"/>
          </p:nvSpPr>
          <p:spPr bwMode="auto">
            <a:xfrm>
              <a:off x="8374064" y="3920173"/>
              <a:ext cx="19050" cy="22225"/>
            </a:xfrm>
            <a:custGeom>
              <a:avLst/>
              <a:gdLst>
                <a:gd name="T0" fmla="*/ 0 w 12"/>
                <a:gd name="T1" fmla="*/ 11 h 14"/>
                <a:gd name="T2" fmla="*/ 3 w 12"/>
                <a:gd name="T3" fmla="*/ 14 h 14"/>
                <a:gd name="T4" fmla="*/ 12 w 12"/>
                <a:gd name="T5" fmla="*/ 3 h 14"/>
                <a:gd name="T6" fmla="*/ 8 w 12"/>
                <a:gd name="T7" fmla="*/ 0 h 14"/>
                <a:gd name="T8" fmla="*/ 0 w 12"/>
                <a:gd name="T9" fmla="*/ 11 h 14"/>
              </a:gdLst>
              <a:ahLst/>
              <a:cxnLst>
                <a:cxn ang="0">
                  <a:pos x="T0" y="T1"/>
                </a:cxn>
                <a:cxn ang="0">
                  <a:pos x="T2" y="T3"/>
                </a:cxn>
                <a:cxn ang="0">
                  <a:pos x="T4" y="T5"/>
                </a:cxn>
                <a:cxn ang="0">
                  <a:pos x="T6" y="T7"/>
                </a:cxn>
                <a:cxn ang="0">
                  <a:pos x="T8" y="T9"/>
                </a:cxn>
              </a:cxnLst>
              <a:rect l="0" t="0" r="r" b="b"/>
              <a:pathLst>
                <a:path w="12" h="14">
                  <a:moveTo>
                    <a:pt x="0" y="11"/>
                  </a:moveTo>
                  <a:lnTo>
                    <a:pt x="3" y="14"/>
                  </a:lnTo>
                  <a:lnTo>
                    <a:pt x="12" y="3"/>
                  </a:lnTo>
                  <a:lnTo>
                    <a:pt x="8" y="0"/>
                  </a:lnTo>
                  <a:lnTo>
                    <a:pt x="0" y="11"/>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129"/>
            <p:cNvSpPr>
              <a:spLocks/>
            </p:cNvSpPr>
            <p:nvPr userDrawn="1"/>
          </p:nvSpPr>
          <p:spPr bwMode="auto">
            <a:xfrm>
              <a:off x="8374064" y="3920173"/>
              <a:ext cx="19050" cy="22225"/>
            </a:xfrm>
            <a:custGeom>
              <a:avLst/>
              <a:gdLst>
                <a:gd name="T0" fmla="*/ 0 w 12"/>
                <a:gd name="T1" fmla="*/ 11 h 14"/>
                <a:gd name="T2" fmla="*/ 3 w 12"/>
                <a:gd name="T3" fmla="*/ 14 h 14"/>
                <a:gd name="T4" fmla="*/ 12 w 12"/>
                <a:gd name="T5" fmla="*/ 3 h 14"/>
                <a:gd name="T6" fmla="*/ 8 w 12"/>
                <a:gd name="T7" fmla="*/ 0 h 14"/>
                <a:gd name="T8" fmla="*/ 0 w 12"/>
                <a:gd name="T9" fmla="*/ 11 h 14"/>
              </a:gdLst>
              <a:ahLst/>
              <a:cxnLst>
                <a:cxn ang="0">
                  <a:pos x="T0" y="T1"/>
                </a:cxn>
                <a:cxn ang="0">
                  <a:pos x="T2" y="T3"/>
                </a:cxn>
                <a:cxn ang="0">
                  <a:pos x="T4" y="T5"/>
                </a:cxn>
                <a:cxn ang="0">
                  <a:pos x="T6" y="T7"/>
                </a:cxn>
                <a:cxn ang="0">
                  <a:pos x="T8" y="T9"/>
                </a:cxn>
              </a:cxnLst>
              <a:rect l="0" t="0" r="r" b="b"/>
              <a:pathLst>
                <a:path w="12" h="14">
                  <a:moveTo>
                    <a:pt x="0" y="11"/>
                  </a:moveTo>
                  <a:lnTo>
                    <a:pt x="3" y="14"/>
                  </a:lnTo>
                  <a:lnTo>
                    <a:pt x="12" y="3"/>
                  </a:lnTo>
                  <a:lnTo>
                    <a:pt x="8"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Rectangle 130"/>
            <p:cNvSpPr>
              <a:spLocks noChangeArrowheads="1"/>
            </p:cNvSpPr>
            <p:nvPr userDrawn="1"/>
          </p:nvSpPr>
          <p:spPr bwMode="auto">
            <a:xfrm>
              <a:off x="8374064" y="3931285"/>
              <a:ext cx="9525" cy="11113"/>
            </a:xfrm>
            <a:prstGeom prst="rect">
              <a:avLst/>
            </a:prstGeom>
            <a:solidFill>
              <a:srgbClr val="2D12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131"/>
            <p:cNvSpPr>
              <a:spLocks/>
            </p:cNvSpPr>
            <p:nvPr userDrawn="1"/>
          </p:nvSpPr>
          <p:spPr bwMode="auto">
            <a:xfrm>
              <a:off x="8556627" y="4061460"/>
              <a:ext cx="30163" cy="28575"/>
            </a:xfrm>
            <a:custGeom>
              <a:avLst/>
              <a:gdLst>
                <a:gd name="T0" fmla="*/ 19 w 19"/>
                <a:gd name="T1" fmla="*/ 14 h 18"/>
                <a:gd name="T2" fmla="*/ 10 w 19"/>
                <a:gd name="T3" fmla="*/ 0 h 18"/>
                <a:gd name="T4" fmla="*/ 0 w 19"/>
                <a:gd name="T5" fmla="*/ 13 h 18"/>
                <a:gd name="T6" fmla="*/ 15 w 19"/>
                <a:gd name="T7" fmla="*/ 18 h 18"/>
                <a:gd name="T8" fmla="*/ 19 w 19"/>
                <a:gd name="T9" fmla="*/ 14 h 18"/>
              </a:gdLst>
              <a:ahLst/>
              <a:cxnLst>
                <a:cxn ang="0">
                  <a:pos x="T0" y="T1"/>
                </a:cxn>
                <a:cxn ang="0">
                  <a:pos x="T2" y="T3"/>
                </a:cxn>
                <a:cxn ang="0">
                  <a:pos x="T4" y="T5"/>
                </a:cxn>
                <a:cxn ang="0">
                  <a:pos x="T6" y="T7"/>
                </a:cxn>
                <a:cxn ang="0">
                  <a:pos x="T8" y="T9"/>
                </a:cxn>
              </a:cxnLst>
              <a:rect l="0" t="0" r="r" b="b"/>
              <a:pathLst>
                <a:path w="19" h="18">
                  <a:moveTo>
                    <a:pt x="19" y="14"/>
                  </a:moveTo>
                  <a:lnTo>
                    <a:pt x="10" y="0"/>
                  </a:lnTo>
                  <a:lnTo>
                    <a:pt x="0" y="13"/>
                  </a:lnTo>
                  <a:lnTo>
                    <a:pt x="15" y="18"/>
                  </a:lnTo>
                  <a:lnTo>
                    <a:pt x="19" y="14"/>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132"/>
            <p:cNvSpPr>
              <a:spLocks/>
            </p:cNvSpPr>
            <p:nvPr userDrawn="1"/>
          </p:nvSpPr>
          <p:spPr bwMode="auto">
            <a:xfrm>
              <a:off x="8556627" y="4061460"/>
              <a:ext cx="30163" cy="28575"/>
            </a:xfrm>
            <a:custGeom>
              <a:avLst/>
              <a:gdLst>
                <a:gd name="T0" fmla="*/ 19 w 19"/>
                <a:gd name="T1" fmla="*/ 14 h 18"/>
                <a:gd name="T2" fmla="*/ 10 w 19"/>
                <a:gd name="T3" fmla="*/ 0 h 18"/>
                <a:gd name="T4" fmla="*/ 0 w 19"/>
                <a:gd name="T5" fmla="*/ 13 h 18"/>
                <a:gd name="T6" fmla="*/ 15 w 19"/>
                <a:gd name="T7" fmla="*/ 18 h 18"/>
                <a:gd name="T8" fmla="*/ 19 w 19"/>
                <a:gd name="T9" fmla="*/ 14 h 18"/>
              </a:gdLst>
              <a:ahLst/>
              <a:cxnLst>
                <a:cxn ang="0">
                  <a:pos x="T0" y="T1"/>
                </a:cxn>
                <a:cxn ang="0">
                  <a:pos x="T2" y="T3"/>
                </a:cxn>
                <a:cxn ang="0">
                  <a:pos x="T4" y="T5"/>
                </a:cxn>
                <a:cxn ang="0">
                  <a:pos x="T6" y="T7"/>
                </a:cxn>
                <a:cxn ang="0">
                  <a:pos x="T8" y="T9"/>
                </a:cxn>
              </a:cxnLst>
              <a:rect l="0" t="0" r="r" b="b"/>
              <a:pathLst>
                <a:path w="19" h="18">
                  <a:moveTo>
                    <a:pt x="19" y="14"/>
                  </a:moveTo>
                  <a:lnTo>
                    <a:pt x="10" y="0"/>
                  </a:lnTo>
                  <a:lnTo>
                    <a:pt x="0" y="13"/>
                  </a:lnTo>
                  <a:lnTo>
                    <a:pt x="15" y="18"/>
                  </a:lnTo>
                  <a:lnTo>
                    <a:pt x="19"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133"/>
            <p:cNvSpPr>
              <a:spLocks/>
            </p:cNvSpPr>
            <p:nvPr userDrawn="1"/>
          </p:nvSpPr>
          <p:spPr bwMode="auto">
            <a:xfrm>
              <a:off x="8356602" y="3907473"/>
              <a:ext cx="31750" cy="31750"/>
            </a:xfrm>
            <a:custGeom>
              <a:avLst/>
              <a:gdLst>
                <a:gd name="T0" fmla="*/ 12 w 21"/>
                <a:gd name="T1" fmla="*/ 1 h 22"/>
                <a:gd name="T2" fmla="*/ 9 w 21"/>
                <a:gd name="T3" fmla="*/ 1 h 22"/>
                <a:gd name="T4" fmla="*/ 5 w 21"/>
                <a:gd name="T5" fmla="*/ 7 h 22"/>
                <a:gd name="T6" fmla="*/ 3 w 21"/>
                <a:gd name="T7" fmla="*/ 9 h 22"/>
                <a:gd name="T8" fmla="*/ 1 w 21"/>
                <a:gd name="T9" fmla="*/ 11 h 22"/>
                <a:gd name="T10" fmla="*/ 1 w 21"/>
                <a:gd name="T11" fmla="*/ 11 h 22"/>
                <a:gd name="T12" fmla="*/ 1 w 21"/>
                <a:gd name="T13" fmla="*/ 15 h 22"/>
                <a:gd name="T14" fmla="*/ 10 w 21"/>
                <a:gd name="T15" fmla="*/ 22 h 22"/>
                <a:gd name="T16" fmla="*/ 13 w 21"/>
                <a:gd name="T17" fmla="*/ 17 h 22"/>
                <a:gd name="T18" fmla="*/ 21 w 21"/>
                <a:gd name="T19" fmla="*/ 7 h 22"/>
                <a:gd name="T20" fmla="*/ 12 w 21"/>
                <a:gd name="T21"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2">
                  <a:moveTo>
                    <a:pt x="12" y="1"/>
                  </a:moveTo>
                  <a:cubicBezTo>
                    <a:pt x="11" y="0"/>
                    <a:pt x="10" y="0"/>
                    <a:pt x="9" y="1"/>
                  </a:cubicBezTo>
                  <a:cubicBezTo>
                    <a:pt x="5" y="7"/>
                    <a:pt x="5" y="7"/>
                    <a:pt x="5" y="7"/>
                  </a:cubicBezTo>
                  <a:cubicBezTo>
                    <a:pt x="4" y="7"/>
                    <a:pt x="3" y="8"/>
                    <a:pt x="3" y="9"/>
                  </a:cubicBezTo>
                  <a:cubicBezTo>
                    <a:pt x="2" y="9"/>
                    <a:pt x="2" y="10"/>
                    <a:pt x="1" y="11"/>
                  </a:cubicBezTo>
                  <a:cubicBezTo>
                    <a:pt x="1" y="11"/>
                    <a:pt x="1" y="11"/>
                    <a:pt x="1" y="11"/>
                  </a:cubicBezTo>
                  <a:cubicBezTo>
                    <a:pt x="0" y="13"/>
                    <a:pt x="0" y="14"/>
                    <a:pt x="1" y="15"/>
                  </a:cubicBezTo>
                  <a:cubicBezTo>
                    <a:pt x="10" y="22"/>
                    <a:pt x="10" y="22"/>
                    <a:pt x="10" y="22"/>
                  </a:cubicBezTo>
                  <a:cubicBezTo>
                    <a:pt x="13" y="17"/>
                    <a:pt x="13" y="17"/>
                    <a:pt x="13" y="17"/>
                  </a:cubicBezTo>
                  <a:cubicBezTo>
                    <a:pt x="21" y="7"/>
                    <a:pt x="21" y="7"/>
                    <a:pt x="21" y="7"/>
                  </a:cubicBezTo>
                  <a:cubicBezTo>
                    <a:pt x="12" y="1"/>
                    <a:pt x="12" y="1"/>
                    <a:pt x="12" y="1"/>
                  </a:cubicBezTo>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134"/>
            <p:cNvSpPr>
              <a:spLocks/>
            </p:cNvSpPr>
            <p:nvPr userDrawn="1"/>
          </p:nvSpPr>
          <p:spPr bwMode="auto">
            <a:xfrm>
              <a:off x="8356602" y="3920173"/>
              <a:ext cx="4763" cy="6350"/>
            </a:xfrm>
            <a:custGeom>
              <a:avLst/>
              <a:gdLst>
                <a:gd name="T0" fmla="*/ 3 w 3"/>
                <a:gd name="T1" fmla="*/ 0 h 4"/>
                <a:gd name="T2" fmla="*/ 1 w 3"/>
                <a:gd name="T3" fmla="*/ 2 h 4"/>
                <a:gd name="T4" fmla="*/ 1 w 3"/>
                <a:gd name="T5" fmla="*/ 2 h 4"/>
                <a:gd name="T6" fmla="*/ 0 w 3"/>
                <a:gd name="T7" fmla="*/ 4 h 4"/>
                <a:gd name="T8" fmla="*/ 1 w 3"/>
                <a:gd name="T9" fmla="*/ 2 h 4"/>
                <a:gd name="T10" fmla="*/ 1 w 3"/>
                <a:gd name="T11" fmla="*/ 2 h 4"/>
                <a:gd name="T12" fmla="*/ 3 w 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0"/>
                  </a:moveTo>
                  <a:cubicBezTo>
                    <a:pt x="2" y="1"/>
                    <a:pt x="2" y="1"/>
                    <a:pt x="1" y="2"/>
                  </a:cubicBezTo>
                  <a:cubicBezTo>
                    <a:pt x="1" y="2"/>
                    <a:pt x="1" y="2"/>
                    <a:pt x="1" y="2"/>
                  </a:cubicBezTo>
                  <a:cubicBezTo>
                    <a:pt x="0" y="3"/>
                    <a:pt x="0" y="3"/>
                    <a:pt x="0" y="4"/>
                  </a:cubicBezTo>
                  <a:cubicBezTo>
                    <a:pt x="0" y="3"/>
                    <a:pt x="0" y="3"/>
                    <a:pt x="1" y="2"/>
                  </a:cubicBezTo>
                  <a:cubicBezTo>
                    <a:pt x="1" y="2"/>
                    <a:pt x="1" y="2"/>
                    <a:pt x="1" y="2"/>
                  </a:cubicBezTo>
                  <a:cubicBezTo>
                    <a:pt x="2" y="1"/>
                    <a:pt x="2" y="1"/>
                    <a:pt x="3"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135"/>
            <p:cNvSpPr>
              <a:spLocks/>
            </p:cNvSpPr>
            <p:nvPr userDrawn="1"/>
          </p:nvSpPr>
          <p:spPr bwMode="auto">
            <a:xfrm>
              <a:off x="8356602" y="3920173"/>
              <a:ext cx="20638" cy="19050"/>
            </a:xfrm>
            <a:custGeom>
              <a:avLst/>
              <a:gdLst>
                <a:gd name="T0" fmla="*/ 3 w 13"/>
                <a:gd name="T1" fmla="*/ 0 h 13"/>
                <a:gd name="T2" fmla="*/ 3 w 13"/>
                <a:gd name="T3" fmla="*/ 0 h 13"/>
                <a:gd name="T4" fmla="*/ 3 w 13"/>
                <a:gd name="T5" fmla="*/ 0 h 13"/>
                <a:gd name="T6" fmla="*/ 3 w 13"/>
                <a:gd name="T7" fmla="*/ 0 h 13"/>
                <a:gd name="T8" fmla="*/ 1 w 13"/>
                <a:gd name="T9" fmla="*/ 2 h 13"/>
                <a:gd name="T10" fmla="*/ 1 w 13"/>
                <a:gd name="T11" fmla="*/ 2 h 13"/>
                <a:gd name="T12" fmla="*/ 0 w 13"/>
                <a:gd name="T13" fmla="*/ 4 h 13"/>
                <a:gd name="T14" fmla="*/ 1 w 13"/>
                <a:gd name="T15" fmla="*/ 6 h 13"/>
                <a:gd name="T16" fmla="*/ 10 w 13"/>
                <a:gd name="T17" fmla="*/ 13 h 13"/>
                <a:gd name="T18" fmla="*/ 13 w 13"/>
                <a:gd name="T19" fmla="*/ 8 h 13"/>
                <a:gd name="T20" fmla="*/ 3 w 1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3" y="0"/>
                  </a:moveTo>
                  <a:cubicBezTo>
                    <a:pt x="3" y="0"/>
                    <a:pt x="3" y="0"/>
                    <a:pt x="3" y="0"/>
                  </a:cubicBezTo>
                  <a:cubicBezTo>
                    <a:pt x="3" y="0"/>
                    <a:pt x="3" y="0"/>
                    <a:pt x="3" y="0"/>
                  </a:cubicBezTo>
                  <a:cubicBezTo>
                    <a:pt x="3" y="0"/>
                    <a:pt x="3" y="0"/>
                    <a:pt x="3" y="0"/>
                  </a:cubicBezTo>
                  <a:cubicBezTo>
                    <a:pt x="2" y="1"/>
                    <a:pt x="2" y="1"/>
                    <a:pt x="1" y="2"/>
                  </a:cubicBezTo>
                  <a:cubicBezTo>
                    <a:pt x="1" y="2"/>
                    <a:pt x="1" y="2"/>
                    <a:pt x="1" y="2"/>
                  </a:cubicBezTo>
                  <a:cubicBezTo>
                    <a:pt x="0" y="3"/>
                    <a:pt x="0" y="3"/>
                    <a:pt x="0" y="4"/>
                  </a:cubicBezTo>
                  <a:cubicBezTo>
                    <a:pt x="0" y="5"/>
                    <a:pt x="1" y="6"/>
                    <a:pt x="1" y="6"/>
                  </a:cubicBezTo>
                  <a:cubicBezTo>
                    <a:pt x="10" y="13"/>
                    <a:pt x="10" y="13"/>
                    <a:pt x="10" y="13"/>
                  </a:cubicBezTo>
                  <a:cubicBezTo>
                    <a:pt x="13" y="8"/>
                    <a:pt x="13" y="8"/>
                    <a:pt x="13" y="8"/>
                  </a:cubicBezTo>
                  <a:cubicBezTo>
                    <a:pt x="3" y="0"/>
                    <a:pt x="3" y="0"/>
                    <a:pt x="3" y="0"/>
                  </a:cubicBezTo>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136"/>
            <p:cNvSpPr>
              <a:spLocks/>
            </p:cNvSpPr>
            <p:nvPr userDrawn="1"/>
          </p:nvSpPr>
          <p:spPr bwMode="auto">
            <a:xfrm>
              <a:off x="8377239" y="3937635"/>
              <a:ext cx="184150" cy="144463"/>
            </a:xfrm>
            <a:custGeom>
              <a:avLst/>
              <a:gdLst>
                <a:gd name="T0" fmla="*/ 4 w 116"/>
                <a:gd name="T1" fmla="*/ 0 h 91"/>
                <a:gd name="T2" fmla="*/ 1 w 116"/>
                <a:gd name="T3" fmla="*/ 3 h 91"/>
                <a:gd name="T4" fmla="*/ 1 w 116"/>
                <a:gd name="T5" fmla="*/ 3 h 91"/>
                <a:gd name="T6" fmla="*/ 0 w 116"/>
                <a:gd name="T7" fmla="*/ 4 h 91"/>
                <a:gd name="T8" fmla="*/ 113 w 116"/>
                <a:gd name="T9" fmla="*/ 91 h 91"/>
                <a:gd name="T10" fmla="*/ 116 w 116"/>
                <a:gd name="T11" fmla="*/ 87 h 91"/>
                <a:gd name="T12" fmla="*/ 4 w 116"/>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116" h="91">
                  <a:moveTo>
                    <a:pt x="4" y="0"/>
                  </a:moveTo>
                  <a:lnTo>
                    <a:pt x="1" y="3"/>
                  </a:lnTo>
                  <a:lnTo>
                    <a:pt x="1" y="3"/>
                  </a:lnTo>
                  <a:lnTo>
                    <a:pt x="0" y="4"/>
                  </a:lnTo>
                  <a:lnTo>
                    <a:pt x="113" y="91"/>
                  </a:lnTo>
                  <a:lnTo>
                    <a:pt x="116" y="87"/>
                  </a:lnTo>
                  <a:lnTo>
                    <a:pt x="4"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137"/>
            <p:cNvSpPr>
              <a:spLocks/>
            </p:cNvSpPr>
            <p:nvPr userDrawn="1"/>
          </p:nvSpPr>
          <p:spPr bwMode="auto">
            <a:xfrm>
              <a:off x="8377239" y="3937635"/>
              <a:ext cx="184150" cy="144463"/>
            </a:xfrm>
            <a:custGeom>
              <a:avLst/>
              <a:gdLst>
                <a:gd name="T0" fmla="*/ 4 w 116"/>
                <a:gd name="T1" fmla="*/ 0 h 91"/>
                <a:gd name="T2" fmla="*/ 1 w 116"/>
                <a:gd name="T3" fmla="*/ 3 h 91"/>
                <a:gd name="T4" fmla="*/ 1 w 116"/>
                <a:gd name="T5" fmla="*/ 3 h 91"/>
                <a:gd name="T6" fmla="*/ 0 w 116"/>
                <a:gd name="T7" fmla="*/ 4 h 91"/>
                <a:gd name="T8" fmla="*/ 113 w 116"/>
                <a:gd name="T9" fmla="*/ 91 h 91"/>
                <a:gd name="T10" fmla="*/ 116 w 116"/>
                <a:gd name="T11" fmla="*/ 87 h 91"/>
                <a:gd name="T12" fmla="*/ 4 w 116"/>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116" h="91">
                  <a:moveTo>
                    <a:pt x="4" y="0"/>
                  </a:moveTo>
                  <a:lnTo>
                    <a:pt x="1" y="3"/>
                  </a:lnTo>
                  <a:lnTo>
                    <a:pt x="1" y="3"/>
                  </a:lnTo>
                  <a:lnTo>
                    <a:pt x="0" y="4"/>
                  </a:lnTo>
                  <a:lnTo>
                    <a:pt x="113" y="91"/>
                  </a:lnTo>
                  <a:lnTo>
                    <a:pt x="116" y="87"/>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Freeform 138"/>
            <p:cNvSpPr>
              <a:spLocks/>
            </p:cNvSpPr>
            <p:nvPr userDrawn="1"/>
          </p:nvSpPr>
          <p:spPr bwMode="auto">
            <a:xfrm>
              <a:off x="8378827" y="3937635"/>
              <a:ext cx="4763" cy="4763"/>
            </a:xfrm>
            <a:custGeom>
              <a:avLst/>
              <a:gdLst>
                <a:gd name="T0" fmla="*/ 3 w 3"/>
                <a:gd name="T1" fmla="*/ 0 h 3"/>
                <a:gd name="T2" fmla="*/ 0 w 3"/>
                <a:gd name="T3" fmla="*/ 3 h 3"/>
                <a:gd name="T4" fmla="*/ 0 w 3"/>
                <a:gd name="T5" fmla="*/ 3 h 3"/>
                <a:gd name="T6" fmla="*/ 3 w 3"/>
                <a:gd name="T7" fmla="*/ 0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lnTo>
                    <a:pt x="0" y="3"/>
                  </a:lnTo>
                  <a:lnTo>
                    <a:pt x="0" y="3"/>
                  </a:lnTo>
                  <a:lnTo>
                    <a:pt x="3" y="0"/>
                  </a:lnTo>
                  <a:lnTo>
                    <a:pt x="3" y="0"/>
                  </a:lnTo>
                  <a:close/>
                </a:path>
              </a:pathLst>
            </a:custGeom>
            <a:solidFill>
              <a:srgbClr val="281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Freeform 139"/>
            <p:cNvSpPr>
              <a:spLocks/>
            </p:cNvSpPr>
            <p:nvPr userDrawn="1"/>
          </p:nvSpPr>
          <p:spPr bwMode="auto">
            <a:xfrm>
              <a:off x="8378827" y="3937635"/>
              <a:ext cx="4763" cy="4763"/>
            </a:xfrm>
            <a:custGeom>
              <a:avLst/>
              <a:gdLst>
                <a:gd name="T0" fmla="*/ 3 w 3"/>
                <a:gd name="T1" fmla="*/ 0 h 3"/>
                <a:gd name="T2" fmla="*/ 0 w 3"/>
                <a:gd name="T3" fmla="*/ 3 h 3"/>
                <a:gd name="T4" fmla="*/ 0 w 3"/>
                <a:gd name="T5" fmla="*/ 3 h 3"/>
                <a:gd name="T6" fmla="*/ 3 w 3"/>
                <a:gd name="T7" fmla="*/ 0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lnTo>
                    <a:pt x="0" y="3"/>
                  </a:lnTo>
                  <a:lnTo>
                    <a:pt x="0" y="3"/>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Freeform 140"/>
            <p:cNvSpPr>
              <a:spLocks/>
            </p:cNvSpPr>
            <p:nvPr userDrawn="1"/>
          </p:nvSpPr>
          <p:spPr bwMode="auto">
            <a:xfrm>
              <a:off x="8556627" y="4075748"/>
              <a:ext cx="4763" cy="6350"/>
            </a:xfrm>
            <a:custGeom>
              <a:avLst/>
              <a:gdLst>
                <a:gd name="T0" fmla="*/ 3 w 3"/>
                <a:gd name="T1" fmla="*/ 0 h 4"/>
                <a:gd name="T2" fmla="*/ 0 w 3"/>
                <a:gd name="T3" fmla="*/ 4 h 4"/>
                <a:gd name="T4" fmla="*/ 3 w 3"/>
                <a:gd name="T5" fmla="*/ 0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0"/>
                  </a:lnTo>
                  <a:lnTo>
                    <a:pt x="3"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41"/>
            <p:cNvSpPr>
              <a:spLocks/>
            </p:cNvSpPr>
            <p:nvPr userDrawn="1"/>
          </p:nvSpPr>
          <p:spPr bwMode="auto">
            <a:xfrm>
              <a:off x="8556627" y="4075748"/>
              <a:ext cx="4763" cy="6350"/>
            </a:xfrm>
            <a:custGeom>
              <a:avLst/>
              <a:gdLst>
                <a:gd name="T0" fmla="*/ 3 w 3"/>
                <a:gd name="T1" fmla="*/ 0 h 4"/>
                <a:gd name="T2" fmla="*/ 0 w 3"/>
                <a:gd name="T3" fmla="*/ 4 h 4"/>
                <a:gd name="T4" fmla="*/ 3 w 3"/>
                <a:gd name="T5" fmla="*/ 0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42"/>
            <p:cNvSpPr>
              <a:spLocks/>
            </p:cNvSpPr>
            <p:nvPr userDrawn="1"/>
          </p:nvSpPr>
          <p:spPr bwMode="auto">
            <a:xfrm>
              <a:off x="8513764" y="4012248"/>
              <a:ext cx="28575" cy="23813"/>
            </a:xfrm>
            <a:custGeom>
              <a:avLst/>
              <a:gdLst>
                <a:gd name="T0" fmla="*/ 16 w 18"/>
                <a:gd name="T1" fmla="*/ 15 h 15"/>
                <a:gd name="T2" fmla="*/ 0 w 18"/>
                <a:gd name="T3" fmla="*/ 2 h 15"/>
                <a:gd name="T4" fmla="*/ 2 w 18"/>
                <a:gd name="T5" fmla="*/ 0 h 15"/>
                <a:gd name="T6" fmla="*/ 18 w 18"/>
                <a:gd name="T7" fmla="*/ 13 h 15"/>
                <a:gd name="T8" fmla="*/ 16 w 18"/>
                <a:gd name="T9" fmla="*/ 15 h 15"/>
              </a:gdLst>
              <a:ahLst/>
              <a:cxnLst>
                <a:cxn ang="0">
                  <a:pos x="T0" y="T1"/>
                </a:cxn>
                <a:cxn ang="0">
                  <a:pos x="T2" y="T3"/>
                </a:cxn>
                <a:cxn ang="0">
                  <a:pos x="T4" y="T5"/>
                </a:cxn>
                <a:cxn ang="0">
                  <a:pos x="T6" y="T7"/>
                </a:cxn>
                <a:cxn ang="0">
                  <a:pos x="T8" y="T9"/>
                </a:cxn>
              </a:cxnLst>
              <a:rect l="0" t="0" r="r" b="b"/>
              <a:pathLst>
                <a:path w="18" h="15">
                  <a:moveTo>
                    <a:pt x="16" y="15"/>
                  </a:moveTo>
                  <a:lnTo>
                    <a:pt x="0" y="2"/>
                  </a:lnTo>
                  <a:lnTo>
                    <a:pt x="2" y="0"/>
                  </a:lnTo>
                  <a:lnTo>
                    <a:pt x="18" y="13"/>
                  </a:lnTo>
                  <a:lnTo>
                    <a:pt x="16" y="15"/>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43"/>
            <p:cNvSpPr>
              <a:spLocks/>
            </p:cNvSpPr>
            <p:nvPr userDrawn="1"/>
          </p:nvSpPr>
          <p:spPr bwMode="auto">
            <a:xfrm>
              <a:off x="8513764" y="4012248"/>
              <a:ext cx="28575" cy="23813"/>
            </a:xfrm>
            <a:custGeom>
              <a:avLst/>
              <a:gdLst>
                <a:gd name="T0" fmla="*/ 16 w 18"/>
                <a:gd name="T1" fmla="*/ 15 h 15"/>
                <a:gd name="T2" fmla="*/ 0 w 18"/>
                <a:gd name="T3" fmla="*/ 2 h 15"/>
                <a:gd name="T4" fmla="*/ 2 w 18"/>
                <a:gd name="T5" fmla="*/ 0 h 15"/>
                <a:gd name="T6" fmla="*/ 18 w 18"/>
                <a:gd name="T7" fmla="*/ 13 h 15"/>
                <a:gd name="T8" fmla="*/ 16 w 18"/>
                <a:gd name="T9" fmla="*/ 15 h 15"/>
              </a:gdLst>
              <a:ahLst/>
              <a:cxnLst>
                <a:cxn ang="0">
                  <a:pos x="T0" y="T1"/>
                </a:cxn>
                <a:cxn ang="0">
                  <a:pos x="T2" y="T3"/>
                </a:cxn>
                <a:cxn ang="0">
                  <a:pos x="T4" y="T5"/>
                </a:cxn>
                <a:cxn ang="0">
                  <a:pos x="T6" y="T7"/>
                </a:cxn>
                <a:cxn ang="0">
                  <a:pos x="T8" y="T9"/>
                </a:cxn>
              </a:cxnLst>
              <a:rect l="0" t="0" r="r" b="b"/>
              <a:pathLst>
                <a:path w="18" h="15">
                  <a:moveTo>
                    <a:pt x="16" y="15"/>
                  </a:moveTo>
                  <a:lnTo>
                    <a:pt x="0" y="2"/>
                  </a:lnTo>
                  <a:lnTo>
                    <a:pt x="2" y="0"/>
                  </a:lnTo>
                  <a:lnTo>
                    <a:pt x="18" y="13"/>
                  </a:lnTo>
                  <a:lnTo>
                    <a:pt x="16"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44"/>
            <p:cNvSpPr>
              <a:spLocks/>
            </p:cNvSpPr>
            <p:nvPr userDrawn="1"/>
          </p:nvSpPr>
          <p:spPr bwMode="auto">
            <a:xfrm>
              <a:off x="8539164" y="4034473"/>
              <a:ext cx="1588" cy="1588"/>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lnTo>
                    <a:pt x="0" y="1"/>
                  </a:lnTo>
                  <a:lnTo>
                    <a:pt x="1" y="0"/>
                  </a:lnTo>
                  <a:lnTo>
                    <a:pt x="1" y="0"/>
                  </a:ln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45"/>
            <p:cNvSpPr>
              <a:spLocks/>
            </p:cNvSpPr>
            <p:nvPr userDrawn="1"/>
          </p:nvSpPr>
          <p:spPr bwMode="auto">
            <a:xfrm>
              <a:off x="8539164" y="4034473"/>
              <a:ext cx="1588" cy="1588"/>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lnTo>
                    <a:pt x="0" y="1"/>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Rectangle 146"/>
            <p:cNvSpPr>
              <a:spLocks noChangeArrowheads="1"/>
            </p:cNvSpPr>
            <p:nvPr userDrawn="1"/>
          </p:nvSpPr>
          <p:spPr bwMode="auto">
            <a:xfrm>
              <a:off x="8540752" y="4032885"/>
              <a:ext cx="1588" cy="15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47"/>
            <p:cNvSpPr>
              <a:spLocks/>
            </p:cNvSpPr>
            <p:nvPr userDrawn="1"/>
          </p:nvSpPr>
          <p:spPr bwMode="auto">
            <a:xfrm>
              <a:off x="8540752" y="4032885"/>
              <a:ext cx="0" cy="1588"/>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lnTo>
                    <a:pt x="0" y="1"/>
                  </a:ln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48"/>
            <p:cNvSpPr>
              <a:spLocks/>
            </p:cNvSpPr>
            <p:nvPr userDrawn="1"/>
          </p:nvSpPr>
          <p:spPr bwMode="auto">
            <a:xfrm>
              <a:off x="8513764" y="4013835"/>
              <a:ext cx="26988" cy="22225"/>
            </a:xfrm>
            <a:custGeom>
              <a:avLst/>
              <a:gdLst>
                <a:gd name="T0" fmla="*/ 1 w 17"/>
                <a:gd name="T1" fmla="*/ 0 h 14"/>
                <a:gd name="T2" fmla="*/ 0 w 17"/>
                <a:gd name="T3" fmla="*/ 1 h 14"/>
                <a:gd name="T4" fmla="*/ 16 w 17"/>
                <a:gd name="T5" fmla="*/ 14 h 14"/>
                <a:gd name="T6" fmla="*/ 17 w 17"/>
                <a:gd name="T7" fmla="*/ 13 h 14"/>
                <a:gd name="T8" fmla="*/ 17 w 17"/>
                <a:gd name="T9" fmla="*/ 12 h 14"/>
                <a:gd name="T10" fmla="*/ 1 w 17"/>
                <a:gd name="T11" fmla="*/ 0 h 14"/>
              </a:gdLst>
              <a:ahLst/>
              <a:cxnLst>
                <a:cxn ang="0">
                  <a:pos x="T0" y="T1"/>
                </a:cxn>
                <a:cxn ang="0">
                  <a:pos x="T2" y="T3"/>
                </a:cxn>
                <a:cxn ang="0">
                  <a:pos x="T4" y="T5"/>
                </a:cxn>
                <a:cxn ang="0">
                  <a:pos x="T6" y="T7"/>
                </a:cxn>
                <a:cxn ang="0">
                  <a:pos x="T8" y="T9"/>
                </a:cxn>
                <a:cxn ang="0">
                  <a:pos x="T10" y="T11"/>
                </a:cxn>
              </a:cxnLst>
              <a:rect l="0" t="0" r="r" b="b"/>
              <a:pathLst>
                <a:path w="17" h="14">
                  <a:moveTo>
                    <a:pt x="1" y="0"/>
                  </a:moveTo>
                  <a:lnTo>
                    <a:pt x="0" y="1"/>
                  </a:lnTo>
                  <a:lnTo>
                    <a:pt x="16" y="14"/>
                  </a:lnTo>
                  <a:lnTo>
                    <a:pt x="17" y="13"/>
                  </a:lnTo>
                  <a:lnTo>
                    <a:pt x="17" y="12"/>
                  </a:lnTo>
                  <a:lnTo>
                    <a:pt x="1"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49"/>
            <p:cNvSpPr>
              <a:spLocks/>
            </p:cNvSpPr>
            <p:nvPr userDrawn="1"/>
          </p:nvSpPr>
          <p:spPr bwMode="auto">
            <a:xfrm>
              <a:off x="8513764" y="4013835"/>
              <a:ext cx="26988" cy="22225"/>
            </a:xfrm>
            <a:custGeom>
              <a:avLst/>
              <a:gdLst>
                <a:gd name="T0" fmla="*/ 1 w 17"/>
                <a:gd name="T1" fmla="*/ 0 h 14"/>
                <a:gd name="T2" fmla="*/ 0 w 17"/>
                <a:gd name="T3" fmla="*/ 1 h 14"/>
                <a:gd name="T4" fmla="*/ 16 w 17"/>
                <a:gd name="T5" fmla="*/ 14 h 14"/>
                <a:gd name="T6" fmla="*/ 17 w 17"/>
                <a:gd name="T7" fmla="*/ 13 h 14"/>
                <a:gd name="T8" fmla="*/ 17 w 17"/>
                <a:gd name="T9" fmla="*/ 12 h 14"/>
                <a:gd name="T10" fmla="*/ 1 w 17"/>
                <a:gd name="T11" fmla="*/ 0 h 14"/>
              </a:gdLst>
              <a:ahLst/>
              <a:cxnLst>
                <a:cxn ang="0">
                  <a:pos x="T0" y="T1"/>
                </a:cxn>
                <a:cxn ang="0">
                  <a:pos x="T2" y="T3"/>
                </a:cxn>
                <a:cxn ang="0">
                  <a:pos x="T4" y="T5"/>
                </a:cxn>
                <a:cxn ang="0">
                  <a:pos x="T6" y="T7"/>
                </a:cxn>
                <a:cxn ang="0">
                  <a:pos x="T8" y="T9"/>
                </a:cxn>
                <a:cxn ang="0">
                  <a:pos x="T10" y="T11"/>
                </a:cxn>
              </a:cxnLst>
              <a:rect l="0" t="0" r="r" b="b"/>
              <a:pathLst>
                <a:path w="17" h="14">
                  <a:moveTo>
                    <a:pt x="1" y="0"/>
                  </a:moveTo>
                  <a:lnTo>
                    <a:pt x="0" y="1"/>
                  </a:lnTo>
                  <a:lnTo>
                    <a:pt x="16" y="14"/>
                  </a:lnTo>
                  <a:lnTo>
                    <a:pt x="17" y="13"/>
                  </a:lnTo>
                  <a:lnTo>
                    <a:pt x="17" y="12"/>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50"/>
            <p:cNvSpPr>
              <a:spLocks/>
            </p:cNvSpPr>
            <p:nvPr userDrawn="1"/>
          </p:nvSpPr>
          <p:spPr bwMode="auto">
            <a:xfrm>
              <a:off x="9875839" y="3561398"/>
              <a:ext cx="695325" cy="436563"/>
            </a:xfrm>
            <a:custGeom>
              <a:avLst/>
              <a:gdLst>
                <a:gd name="T0" fmla="*/ 445 w 467"/>
                <a:gd name="T1" fmla="*/ 0 h 294"/>
                <a:gd name="T2" fmla="*/ 22 w 467"/>
                <a:gd name="T3" fmla="*/ 0 h 294"/>
                <a:gd name="T4" fmla="*/ 0 w 467"/>
                <a:gd name="T5" fmla="*/ 22 h 294"/>
                <a:gd name="T6" fmla="*/ 0 w 467"/>
                <a:gd name="T7" fmla="*/ 272 h 294"/>
                <a:gd name="T8" fmla="*/ 22 w 467"/>
                <a:gd name="T9" fmla="*/ 294 h 294"/>
                <a:gd name="T10" fmla="*/ 445 w 467"/>
                <a:gd name="T11" fmla="*/ 294 h 294"/>
                <a:gd name="T12" fmla="*/ 467 w 467"/>
                <a:gd name="T13" fmla="*/ 272 h 294"/>
                <a:gd name="T14" fmla="*/ 467 w 467"/>
                <a:gd name="T15" fmla="*/ 22 h 294"/>
                <a:gd name="T16" fmla="*/ 445 w 467"/>
                <a:gd name="T1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294">
                  <a:moveTo>
                    <a:pt x="445" y="0"/>
                  </a:moveTo>
                  <a:cubicBezTo>
                    <a:pt x="22" y="0"/>
                    <a:pt x="22" y="0"/>
                    <a:pt x="22" y="0"/>
                  </a:cubicBezTo>
                  <a:cubicBezTo>
                    <a:pt x="10" y="0"/>
                    <a:pt x="0" y="10"/>
                    <a:pt x="0" y="22"/>
                  </a:cubicBezTo>
                  <a:cubicBezTo>
                    <a:pt x="0" y="272"/>
                    <a:pt x="0" y="272"/>
                    <a:pt x="0" y="272"/>
                  </a:cubicBezTo>
                  <a:cubicBezTo>
                    <a:pt x="0" y="284"/>
                    <a:pt x="10" y="294"/>
                    <a:pt x="22" y="294"/>
                  </a:cubicBezTo>
                  <a:cubicBezTo>
                    <a:pt x="445" y="294"/>
                    <a:pt x="445" y="294"/>
                    <a:pt x="445" y="294"/>
                  </a:cubicBezTo>
                  <a:cubicBezTo>
                    <a:pt x="458" y="294"/>
                    <a:pt x="467" y="284"/>
                    <a:pt x="467" y="272"/>
                  </a:cubicBezTo>
                  <a:cubicBezTo>
                    <a:pt x="467" y="22"/>
                    <a:pt x="467" y="22"/>
                    <a:pt x="467" y="22"/>
                  </a:cubicBezTo>
                  <a:cubicBezTo>
                    <a:pt x="467" y="10"/>
                    <a:pt x="458" y="0"/>
                    <a:pt x="445" y="0"/>
                  </a:cubicBez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51"/>
            <p:cNvSpPr>
              <a:spLocks/>
            </p:cNvSpPr>
            <p:nvPr userDrawn="1"/>
          </p:nvSpPr>
          <p:spPr bwMode="auto">
            <a:xfrm>
              <a:off x="10510839" y="3561398"/>
              <a:ext cx="60325" cy="436563"/>
            </a:xfrm>
            <a:custGeom>
              <a:avLst/>
              <a:gdLst>
                <a:gd name="T0" fmla="*/ 22 w 41"/>
                <a:gd name="T1" fmla="*/ 272 h 294"/>
                <a:gd name="T2" fmla="*/ 22 w 41"/>
                <a:gd name="T3" fmla="*/ 22 h 294"/>
                <a:gd name="T4" fmla="*/ 0 w 41"/>
                <a:gd name="T5" fmla="*/ 0 h 294"/>
                <a:gd name="T6" fmla="*/ 19 w 41"/>
                <a:gd name="T7" fmla="*/ 0 h 294"/>
                <a:gd name="T8" fmla="*/ 41 w 41"/>
                <a:gd name="T9" fmla="*/ 22 h 294"/>
                <a:gd name="T10" fmla="*/ 41 w 41"/>
                <a:gd name="T11" fmla="*/ 272 h 294"/>
                <a:gd name="T12" fmla="*/ 19 w 41"/>
                <a:gd name="T13" fmla="*/ 294 h 294"/>
                <a:gd name="T14" fmla="*/ 0 w 41"/>
                <a:gd name="T15" fmla="*/ 294 h 294"/>
                <a:gd name="T16" fmla="*/ 22 w 41"/>
                <a:gd name="T17" fmla="*/ 272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94">
                  <a:moveTo>
                    <a:pt x="22" y="272"/>
                  </a:moveTo>
                  <a:cubicBezTo>
                    <a:pt x="22" y="22"/>
                    <a:pt x="22" y="22"/>
                    <a:pt x="22" y="22"/>
                  </a:cubicBezTo>
                  <a:cubicBezTo>
                    <a:pt x="22" y="10"/>
                    <a:pt x="12" y="0"/>
                    <a:pt x="0" y="0"/>
                  </a:cubicBezTo>
                  <a:cubicBezTo>
                    <a:pt x="19" y="0"/>
                    <a:pt x="19" y="0"/>
                    <a:pt x="19" y="0"/>
                  </a:cubicBezTo>
                  <a:cubicBezTo>
                    <a:pt x="32" y="0"/>
                    <a:pt x="41" y="10"/>
                    <a:pt x="41" y="22"/>
                  </a:cubicBezTo>
                  <a:cubicBezTo>
                    <a:pt x="41" y="272"/>
                    <a:pt x="41" y="272"/>
                    <a:pt x="41" y="272"/>
                  </a:cubicBezTo>
                  <a:cubicBezTo>
                    <a:pt x="41" y="284"/>
                    <a:pt x="32" y="294"/>
                    <a:pt x="19" y="294"/>
                  </a:cubicBezTo>
                  <a:cubicBezTo>
                    <a:pt x="0" y="294"/>
                    <a:pt x="0" y="294"/>
                    <a:pt x="0" y="294"/>
                  </a:cubicBezTo>
                  <a:cubicBezTo>
                    <a:pt x="12" y="294"/>
                    <a:pt x="22" y="284"/>
                    <a:pt x="22" y="272"/>
                  </a:cubicBez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Rectangle 152"/>
            <p:cNvSpPr>
              <a:spLocks noChangeArrowheads="1"/>
            </p:cNvSpPr>
            <p:nvPr userDrawn="1"/>
          </p:nvSpPr>
          <p:spPr bwMode="auto">
            <a:xfrm>
              <a:off x="9875839" y="3961448"/>
              <a:ext cx="695325" cy="36513"/>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Rectangle 153"/>
            <p:cNvSpPr>
              <a:spLocks noChangeArrowheads="1"/>
            </p:cNvSpPr>
            <p:nvPr userDrawn="1"/>
          </p:nvSpPr>
          <p:spPr bwMode="auto">
            <a:xfrm>
              <a:off x="10196514" y="3753485"/>
              <a:ext cx="25400" cy="25400"/>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Rectangle 154"/>
            <p:cNvSpPr>
              <a:spLocks noChangeArrowheads="1"/>
            </p:cNvSpPr>
            <p:nvPr userDrawn="1"/>
          </p:nvSpPr>
          <p:spPr bwMode="auto">
            <a:xfrm>
              <a:off x="10225089" y="3753485"/>
              <a:ext cx="23813" cy="25400"/>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Rectangle 155"/>
            <p:cNvSpPr>
              <a:spLocks noChangeArrowheads="1"/>
            </p:cNvSpPr>
            <p:nvPr userDrawn="1"/>
          </p:nvSpPr>
          <p:spPr bwMode="auto">
            <a:xfrm>
              <a:off x="10196514" y="3782060"/>
              <a:ext cx="25400" cy="23813"/>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Rectangle 156"/>
            <p:cNvSpPr>
              <a:spLocks noChangeArrowheads="1"/>
            </p:cNvSpPr>
            <p:nvPr userDrawn="1"/>
          </p:nvSpPr>
          <p:spPr bwMode="auto">
            <a:xfrm>
              <a:off x="10225089" y="3782060"/>
              <a:ext cx="23813" cy="23813"/>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Freeform 157"/>
            <p:cNvSpPr>
              <a:spLocks/>
            </p:cNvSpPr>
            <p:nvPr userDrawn="1"/>
          </p:nvSpPr>
          <p:spPr bwMode="auto">
            <a:xfrm>
              <a:off x="7820027" y="2935923"/>
              <a:ext cx="514350" cy="350838"/>
            </a:xfrm>
            <a:custGeom>
              <a:avLst/>
              <a:gdLst>
                <a:gd name="T0" fmla="*/ 331 w 345"/>
                <a:gd name="T1" fmla="*/ 31 h 236"/>
                <a:gd name="T2" fmla="*/ 35 w 345"/>
                <a:gd name="T3" fmla="*/ 1 h 236"/>
                <a:gd name="T4" fmla="*/ 18 w 345"/>
                <a:gd name="T5" fmla="*/ 15 h 236"/>
                <a:gd name="T6" fmla="*/ 1 w 345"/>
                <a:gd name="T7" fmla="*/ 189 h 236"/>
                <a:gd name="T8" fmla="*/ 15 w 345"/>
                <a:gd name="T9" fmla="*/ 206 h 236"/>
                <a:gd name="T10" fmla="*/ 310 w 345"/>
                <a:gd name="T11" fmla="*/ 235 h 236"/>
                <a:gd name="T12" fmla="*/ 327 w 345"/>
                <a:gd name="T13" fmla="*/ 222 h 236"/>
                <a:gd name="T14" fmla="*/ 344 w 345"/>
                <a:gd name="T15" fmla="*/ 48 h 236"/>
                <a:gd name="T16" fmla="*/ 331 w 345"/>
                <a:gd name="T17" fmla="*/ 3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236">
                  <a:moveTo>
                    <a:pt x="331" y="31"/>
                  </a:moveTo>
                  <a:cubicBezTo>
                    <a:pt x="35" y="1"/>
                    <a:pt x="35" y="1"/>
                    <a:pt x="35" y="1"/>
                  </a:cubicBezTo>
                  <a:cubicBezTo>
                    <a:pt x="27" y="0"/>
                    <a:pt x="19" y="6"/>
                    <a:pt x="18" y="15"/>
                  </a:cubicBezTo>
                  <a:cubicBezTo>
                    <a:pt x="1" y="189"/>
                    <a:pt x="1" y="189"/>
                    <a:pt x="1" y="189"/>
                  </a:cubicBezTo>
                  <a:cubicBezTo>
                    <a:pt x="0" y="197"/>
                    <a:pt x="6" y="205"/>
                    <a:pt x="15" y="206"/>
                  </a:cubicBezTo>
                  <a:cubicBezTo>
                    <a:pt x="310" y="235"/>
                    <a:pt x="310" y="235"/>
                    <a:pt x="310" y="235"/>
                  </a:cubicBezTo>
                  <a:cubicBezTo>
                    <a:pt x="318" y="236"/>
                    <a:pt x="326" y="230"/>
                    <a:pt x="327" y="222"/>
                  </a:cubicBezTo>
                  <a:cubicBezTo>
                    <a:pt x="344" y="48"/>
                    <a:pt x="344" y="48"/>
                    <a:pt x="344" y="48"/>
                  </a:cubicBezTo>
                  <a:cubicBezTo>
                    <a:pt x="345" y="39"/>
                    <a:pt x="339" y="31"/>
                    <a:pt x="331" y="31"/>
                  </a:cubicBez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Freeform 158"/>
            <p:cNvSpPr>
              <a:spLocks/>
            </p:cNvSpPr>
            <p:nvPr userDrawn="1"/>
          </p:nvSpPr>
          <p:spPr bwMode="auto">
            <a:xfrm>
              <a:off x="8261352" y="2980373"/>
              <a:ext cx="73025" cy="306388"/>
            </a:xfrm>
            <a:custGeom>
              <a:avLst/>
              <a:gdLst>
                <a:gd name="T0" fmla="*/ 17 w 49"/>
                <a:gd name="T1" fmla="*/ 191 h 207"/>
                <a:gd name="T2" fmla="*/ 35 w 49"/>
                <a:gd name="T3" fmla="*/ 17 h 207"/>
                <a:gd name="T4" fmla="*/ 21 w 49"/>
                <a:gd name="T5" fmla="*/ 0 h 207"/>
                <a:gd name="T6" fmla="*/ 35 w 49"/>
                <a:gd name="T7" fmla="*/ 2 h 207"/>
                <a:gd name="T8" fmla="*/ 48 w 49"/>
                <a:gd name="T9" fmla="*/ 19 h 207"/>
                <a:gd name="T10" fmla="*/ 31 w 49"/>
                <a:gd name="T11" fmla="*/ 193 h 207"/>
                <a:gd name="T12" fmla="*/ 14 w 49"/>
                <a:gd name="T13" fmla="*/ 206 h 207"/>
                <a:gd name="T14" fmla="*/ 0 w 49"/>
                <a:gd name="T15" fmla="*/ 205 h 207"/>
                <a:gd name="T16" fmla="*/ 17 w 49"/>
                <a:gd name="T17" fmla="*/ 19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07">
                  <a:moveTo>
                    <a:pt x="17" y="191"/>
                  </a:moveTo>
                  <a:cubicBezTo>
                    <a:pt x="35" y="17"/>
                    <a:pt x="35" y="17"/>
                    <a:pt x="35" y="17"/>
                  </a:cubicBezTo>
                  <a:cubicBezTo>
                    <a:pt x="36" y="9"/>
                    <a:pt x="30" y="1"/>
                    <a:pt x="21" y="0"/>
                  </a:cubicBezTo>
                  <a:cubicBezTo>
                    <a:pt x="35" y="2"/>
                    <a:pt x="35" y="2"/>
                    <a:pt x="35" y="2"/>
                  </a:cubicBezTo>
                  <a:cubicBezTo>
                    <a:pt x="43" y="2"/>
                    <a:pt x="49" y="10"/>
                    <a:pt x="48" y="19"/>
                  </a:cubicBezTo>
                  <a:cubicBezTo>
                    <a:pt x="31" y="193"/>
                    <a:pt x="31" y="193"/>
                    <a:pt x="31" y="193"/>
                  </a:cubicBezTo>
                  <a:cubicBezTo>
                    <a:pt x="30" y="201"/>
                    <a:pt x="22" y="207"/>
                    <a:pt x="14" y="206"/>
                  </a:cubicBezTo>
                  <a:cubicBezTo>
                    <a:pt x="0" y="205"/>
                    <a:pt x="0" y="205"/>
                    <a:pt x="0" y="205"/>
                  </a:cubicBezTo>
                  <a:cubicBezTo>
                    <a:pt x="9" y="206"/>
                    <a:pt x="16" y="200"/>
                    <a:pt x="17" y="191"/>
                  </a:cubicBez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59"/>
            <p:cNvSpPr>
              <a:spLocks/>
            </p:cNvSpPr>
            <p:nvPr userDrawn="1"/>
          </p:nvSpPr>
          <p:spPr bwMode="auto">
            <a:xfrm>
              <a:off x="7820027" y="3213735"/>
              <a:ext cx="487363" cy="74613"/>
            </a:xfrm>
            <a:custGeom>
              <a:avLst/>
              <a:gdLst>
                <a:gd name="T0" fmla="*/ 1 w 307"/>
                <a:gd name="T1" fmla="*/ 0 h 47"/>
                <a:gd name="T2" fmla="*/ 307 w 307"/>
                <a:gd name="T3" fmla="*/ 31 h 47"/>
                <a:gd name="T4" fmla="*/ 305 w 307"/>
                <a:gd name="T5" fmla="*/ 47 h 47"/>
                <a:gd name="T6" fmla="*/ 0 w 307"/>
                <a:gd name="T7" fmla="*/ 16 h 47"/>
                <a:gd name="T8" fmla="*/ 1 w 307"/>
                <a:gd name="T9" fmla="*/ 0 h 47"/>
              </a:gdLst>
              <a:ahLst/>
              <a:cxnLst>
                <a:cxn ang="0">
                  <a:pos x="T0" y="T1"/>
                </a:cxn>
                <a:cxn ang="0">
                  <a:pos x="T2" y="T3"/>
                </a:cxn>
                <a:cxn ang="0">
                  <a:pos x="T4" y="T5"/>
                </a:cxn>
                <a:cxn ang="0">
                  <a:pos x="T6" y="T7"/>
                </a:cxn>
                <a:cxn ang="0">
                  <a:pos x="T8" y="T9"/>
                </a:cxn>
              </a:cxnLst>
              <a:rect l="0" t="0" r="r" b="b"/>
              <a:pathLst>
                <a:path w="307" h="47">
                  <a:moveTo>
                    <a:pt x="1" y="0"/>
                  </a:moveTo>
                  <a:lnTo>
                    <a:pt x="307" y="31"/>
                  </a:lnTo>
                  <a:lnTo>
                    <a:pt x="305" y="47"/>
                  </a:lnTo>
                  <a:lnTo>
                    <a:pt x="0" y="16"/>
                  </a:lnTo>
                  <a:lnTo>
                    <a:pt x="1" y="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Freeform 160"/>
            <p:cNvSpPr>
              <a:spLocks/>
            </p:cNvSpPr>
            <p:nvPr userDrawn="1"/>
          </p:nvSpPr>
          <p:spPr bwMode="auto">
            <a:xfrm>
              <a:off x="8059739" y="3091498"/>
              <a:ext cx="19050" cy="19050"/>
            </a:xfrm>
            <a:custGeom>
              <a:avLst/>
              <a:gdLst>
                <a:gd name="T0" fmla="*/ 0 w 12"/>
                <a:gd name="T1" fmla="*/ 11 h 12"/>
                <a:gd name="T2" fmla="*/ 11 w 12"/>
                <a:gd name="T3" fmla="*/ 12 h 12"/>
                <a:gd name="T4" fmla="*/ 12 w 12"/>
                <a:gd name="T5" fmla="*/ 1 h 12"/>
                <a:gd name="T6" fmla="*/ 1 w 12"/>
                <a:gd name="T7" fmla="*/ 0 h 12"/>
                <a:gd name="T8" fmla="*/ 0 w 12"/>
                <a:gd name="T9" fmla="*/ 11 h 12"/>
              </a:gdLst>
              <a:ahLst/>
              <a:cxnLst>
                <a:cxn ang="0">
                  <a:pos x="T0" y="T1"/>
                </a:cxn>
                <a:cxn ang="0">
                  <a:pos x="T2" y="T3"/>
                </a:cxn>
                <a:cxn ang="0">
                  <a:pos x="T4" y="T5"/>
                </a:cxn>
                <a:cxn ang="0">
                  <a:pos x="T6" y="T7"/>
                </a:cxn>
                <a:cxn ang="0">
                  <a:pos x="T8" y="T9"/>
                </a:cxn>
              </a:cxnLst>
              <a:rect l="0" t="0" r="r" b="b"/>
              <a:pathLst>
                <a:path w="12" h="12">
                  <a:moveTo>
                    <a:pt x="0" y="11"/>
                  </a:moveTo>
                  <a:lnTo>
                    <a:pt x="11" y="12"/>
                  </a:lnTo>
                  <a:lnTo>
                    <a:pt x="12" y="1"/>
                  </a:lnTo>
                  <a:lnTo>
                    <a:pt x="1" y="0"/>
                  </a:lnTo>
                  <a:lnTo>
                    <a:pt x="0" y="11"/>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61"/>
            <p:cNvSpPr>
              <a:spLocks/>
            </p:cNvSpPr>
            <p:nvPr userDrawn="1"/>
          </p:nvSpPr>
          <p:spPr bwMode="auto">
            <a:xfrm>
              <a:off x="8078789" y="3093085"/>
              <a:ext cx="19050" cy="20638"/>
            </a:xfrm>
            <a:custGeom>
              <a:avLst/>
              <a:gdLst>
                <a:gd name="T0" fmla="*/ 0 w 12"/>
                <a:gd name="T1" fmla="*/ 12 h 13"/>
                <a:gd name="T2" fmla="*/ 11 w 12"/>
                <a:gd name="T3" fmla="*/ 13 h 13"/>
                <a:gd name="T4" fmla="*/ 12 w 12"/>
                <a:gd name="T5" fmla="*/ 1 h 13"/>
                <a:gd name="T6" fmla="*/ 1 w 12"/>
                <a:gd name="T7" fmla="*/ 0 h 13"/>
                <a:gd name="T8" fmla="*/ 0 w 12"/>
                <a:gd name="T9" fmla="*/ 12 h 13"/>
              </a:gdLst>
              <a:ahLst/>
              <a:cxnLst>
                <a:cxn ang="0">
                  <a:pos x="T0" y="T1"/>
                </a:cxn>
                <a:cxn ang="0">
                  <a:pos x="T2" y="T3"/>
                </a:cxn>
                <a:cxn ang="0">
                  <a:pos x="T4" y="T5"/>
                </a:cxn>
                <a:cxn ang="0">
                  <a:pos x="T6" y="T7"/>
                </a:cxn>
                <a:cxn ang="0">
                  <a:pos x="T8" y="T9"/>
                </a:cxn>
              </a:cxnLst>
              <a:rect l="0" t="0" r="r" b="b"/>
              <a:pathLst>
                <a:path w="12" h="13">
                  <a:moveTo>
                    <a:pt x="0" y="12"/>
                  </a:moveTo>
                  <a:lnTo>
                    <a:pt x="11" y="13"/>
                  </a:lnTo>
                  <a:lnTo>
                    <a:pt x="12" y="1"/>
                  </a:lnTo>
                  <a:lnTo>
                    <a:pt x="1" y="0"/>
                  </a:lnTo>
                  <a:lnTo>
                    <a:pt x="0" y="12"/>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Freeform 162"/>
            <p:cNvSpPr>
              <a:spLocks/>
            </p:cNvSpPr>
            <p:nvPr userDrawn="1"/>
          </p:nvSpPr>
          <p:spPr bwMode="auto">
            <a:xfrm>
              <a:off x="8058152" y="3110548"/>
              <a:ext cx="19050" cy="19050"/>
            </a:xfrm>
            <a:custGeom>
              <a:avLst/>
              <a:gdLst>
                <a:gd name="T0" fmla="*/ 0 w 12"/>
                <a:gd name="T1" fmla="*/ 11 h 12"/>
                <a:gd name="T2" fmla="*/ 11 w 12"/>
                <a:gd name="T3" fmla="*/ 12 h 12"/>
                <a:gd name="T4" fmla="*/ 12 w 12"/>
                <a:gd name="T5" fmla="*/ 2 h 12"/>
                <a:gd name="T6" fmla="*/ 1 w 12"/>
                <a:gd name="T7" fmla="*/ 0 h 12"/>
                <a:gd name="T8" fmla="*/ 0 w 12"/>
                <a:gd name="T9" fmla="*/ 11 h 12"/>
              </a:gdLst>
              <a:ahLst/>
              <a:cxnLst>
                <a:cxn ang="0">
                  <a:pos x="T0" y="T1"/>
                </a:cxn>
                <a:cxn ang="0">
                  <a:pos x="T2" y="T3"/>
                </a:cxn>
                <a:cxn ang="0">
                  <a:pos x="T4" y="T5"/>
                </a:cxn>
                <a:cxn ang="0">
                  <a:pos x="T6" y="T7"/>
                </a:cxn>
                <a:cxn ang="0">
                  <a:pos x="T8" y="T9"/>
                </a:cxn>
              </a:cxnLst>
              <a:rect l="0" t="0" r="r" b="b"/>
              <a:pathLst>
                <a:path w="12" h="12">
                  <a:moveTo>
                    <a:pt x="0" y="11"/>
                  </a:moveTo>
                  <a:lnTo>
                    <a:pt x="11" y="12"/>
                  </a:lnTo>
                  <a:lnTo>
                    <a:pt x="12" y="2"/>
                  </a:lnTo>
                  <a:lnTo>
                    <a:pt x="1" y="0"/>
                  </a:lnTo>
                  <a:lnTo>
                    <a:pt x="0" y="11"/>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7" name="Freeform 163"/>
            <p:cNvSpPr>
              <a:spLocks/>
            </p:cNvSpPr>
            <p:nvPr userDrawn="1"/>
          </p:nvSpPr>
          <p:spPr bwMode="auto">
            <a:xfrm>
              <a:off x="8077202" y="3113723"/>
              <a:ext cx="19050" cy="19050"/>
            </a:xfrm>
            <a:custGeom>
              <a:avLst/>
              <a:gdLst>
                <a:gd name="T0" fmla="*/ 0 w 12"/>
                <a:gd name="T1" fmla="*/ 10 h 12"/>
                <a:gd name="T2" fmla="*/ 11 w 12"/>
                <a:gd name="T3" fmla="*/ 12 h 12"/>
                <a:gd name="T4" fmla="*/ 12 w 12"/>
                <a:gd name="T5" fmla="*/ 0 h 12"/>
                <a:gd name="T6" fmla="*/ 1 w 12"/>
                <a:gd name="T7" fmla="*/ 0 h 12"/>
                <a:gd name="T8" fmla="*/ 0 w 12"/>
                <a:gd name="T9" fmla="*/ 10 h 12"/>
              </a:gdLst>
              <a:ahLst/>
              <a:cxnLst>
                <a:cxn ang="0">
                  <a:pos x="T0" y="T1"/>
                </a:cxn>
                <a:cxn ang="0">
                  <a:pos x="T2" y="T3"/>
                </a:cxn>
                <a:cxn ang="0">
                  <a:pos x="T4" y="T5"/>
                </a:cxn>
                <a:cxn ang="0">
                  <a:pos x="T6" y="T7"/>
                </a:cxn>
                <a:cxn ang="0">
                  <a:pos x="T8" y="T9"/>
                </a:cxn>
              </a:cxnLst>
              <a:rect l="0" t="0" r="r" b="b"/>
              <a:pathLst>
                <a:path w="12" h="12">
                  <a:moveTo>
                    <a:pt x="0" y="10"/>
                  </a:moveTo>
                  <a:lnTo>
                    <a:pt x="11" y="12"/>
                  </a:lnTo>
                  <a:lnTo>
                    <a:pt x="12" y="0"/>
                  </a:lnTo>
                  <a:lnTo>
                    <a:pt x="1" y="0"/>
                  </a:lnTo>
                  <a:lnTo>
                    <a:pt x="0" y="10"/>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64"/>
            <p:cNvSpPr>
              <a:spLocks/>
            </p:cNvSpPr>
            <p:nvPr userDrawn="1"/>
          </p:nvSpPr>
          <p:spPr bwMode="auto">
            <a:xfrm>
              <a:off x="7966077" y="3223260"/>
              <a:ext cx="31750" cy="38100"/>
            </a:xfrm>
            <a:custGeom>
              <a:avLst/>
              <a:gdLst>
                <a:gd name="T0" fmla="*/ 0 w 21"/>
                <a:gd name="T1" fmla="*/ 25 h 26"/>
                <a:gd name="T2" fmla="*/ 2 w 21"/>
                <a:gd name="T3" fmla="*/ 9 h 26"/>
                <a:gd name="T4" fmla="*/ 12 w 21"/>
                <a:gd name="T5" fmla="*/ 1 h 26"/>
                <a:gd name="T6" fmla="*/ 21 w 21"/>
                <a:gd name="T7" fmla="*/ 11 h 26"/>
                <a:gd name="T8" fmla="*/ 19 w 21"/>
                <a:gd name="T9" fmla="*/ 26 h 26"/>
                <a:gd name="T10" fmla="*/ 0 w 21"/>
                <a:gd name="T11" fmla="*/ 25 h 26"/>
              </a:gdLst>
              <a:ahLst/>
              <a:cxnLst>
                <a:cxn ang="0">
                  <a:pos x="T0" y="T1"/>
                </a:cxn>
                <a:cxn ang="0">
                  <a:pos x="T2" y="T3"/>
                </a:cxn>
                <a:cxn ang="0">
                  <a:pos x="T4" y="T5"/>
                </a:cxn>
                <a:cxn ang="0">
                  <a:pos x="T6" y="T7"/>
                </a:cxn>
                <a:cxn ang="0">
                  <a:pos x="T8" y="T9"/>
                </a:cxn>
                <a:cxn ang="0">
                  <a:pos x="T10" y="T11"/>
                </a:cxn>
              </a:cxnLst>
              <a:rect l="0" t="0" r="r" b="b"/>
              <a:pathLst>
                <a:path w="21" h="26">
                  <a:moveTo>
                    <a:pt x="0" y="25"/>
                  </a:moveTo>
                  <a:cubicBezTo>
                    <a:pt x="2" y="9"/>
                    <a:pt x="2" y="9"/>
                    <a:pt x="2" y="9"/>
                  </a:cubicBezTo>
                  <a:cubicBezTo>
                    <a:pt x="2" y="4"/>
                    <a:pt x="7" y="0"/>
                    <a:pt x="12" y="1"/>
                  </a:cubicBezTo>
                  <a:cubicBezTo>
                    <a:pt x="17" y="1"/>
                    <a:pt x="21" y="6"/>
                    <a:pt x="21" y="11"/>
                  </a:cubicBezTo>
                  <a:cubicBezTo>
                    <a:pt x="19" y="26"/>
                    <a:pt x="19" y="26"/>
                    <a:pt x="19" y="26"/>
                  </a:cubicBezTo>
                  <a:lnTo>
                    <a:pt x="0" y="25"/>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65"/>
            <p:cNvSpPr>
              <a:spLocks/>
            </p:cNvSpPr>
            <p:nvPr userDrawn="1"/>
          </p:nvSpPr>
          <p:spPr bwMode="auto">
            <a:xfrm>
              <a:off x="7940677" y="3208973"/>
              <a:ext cx="30163" cy="50800"/>
            </a:xfrm>
            <a:custGeom>
              <a:avLst/>
              <a:gdLst>
                <a:gd name="T0" fmla="*/ 0 w 21"/>
                <a:gd name="T1" fmla="*/ 32 h 34"/>
                <a:gd name="T2" fmla="*/ 2 w 21"/>
                <a:gd name="T3" fmla="*/ 9 h 34"/>
                <a:gd name="T4" fmla="*/ 12 w 21"/>
                <a:gd name="T5" fmla="*/ 1 h 34"/>
                <a:gd name="T6" fmla="*/ 21 w 21"/>
                <a:gd name="T7" fmla="*/ 11 h 34"/>
                <a:gd name="T8" fmla="*/ 18 w 21"/>
                <a:gd name="T9" fmla="*/ 34 h 34"/>
                <a:gd name="T10" fmla="*/ 0 w 21"/>
                <a:gd name="T11" fmla="*/ 32 h 34"/>
              </a:gdLst>
              <a:ahLst/>
              <a:cxnLst>
                <a:cxn ang="0">
                  <a:pos x="T0" y="T1"/>
                </a:cxn>
                <a:cxn ang="0">
                  <a:pos x="T2" y="T3"/>
                </a:cxn>
                <a:cxn ang="0">
                  <a:pos x="T4" y="T5"/>
                </a:cxn>
                <a:cxn ang="0">
                  <a:pos x="T6" y="T7"/>
                </a:cxn>
                <a:cxn ang="0">
                  <a:pos x="T8" y="T9"/>
                </a:cxn>
                <a:cxn ang="0">
                  <a:pos x="T10" y="T11"/>
                </a:cxn>
              </a:cxnLst>
              <a:rect l="0" t="0" r="r" b="b"/>
              <a:pathLst>
                <a:path w="21" h="34">
                  <a:moveTo>
                    <a:pt x="0" y="32"/>
                  </a:moveTo>
                  <a:cubicBezTo>
                    <a:pt x="2" y="9"/>
                    <a:pt x="2" y="9"/>
                    <a:pt x="2" y="9"/>
                  </a:cubicBezTo>
                  <a:cubicBezTo>
                    <a:pt x="2" y="4"/>
                    <a:pt x="7" y="0"/>
                    <a:pt x="12" y="1"/>
                  </a:cubicBezTo>
                  <a:cubicBezTo>
                    <a:pt x="17" y="1"/>
                    <a:pt x="21" y="6"/>
                    <a:pt x="21" y="11"/>
                  </a:cubicBezTo>
                  <a:cubicBezTo>
                    <a:pt x="18" y="34"/>
                    <a:pt x="18" y="34"/>
                    <a:pt x="18" y="34"/>
                  </a:cubicBezTo>
                  <a:lnTo>
                    <a:pt x="0" y="32"/>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Freeform 166"/>
            <p:cNvSpPr>
              <a:spLocks/>
            </p:cNvSpPr>
            <p:nvPr userDrawn="1"/>
          </p:nvSpPr>
          <p:spPr bwMode="auto">
            <a:xfrm>
              <a:off x="7883527" y="3202623"/>
              <a:ext cx="33338" cy="50800"/>
            </a:xfrm>
            <a:custGeom>
              <a:avLst/>
              <a:gdLst>
                <a:gd name="T0" fmla="*/ 0 w 22"/>
                <a:gd name="T1" fmla="*/ 32 h 34"/>
                <a:gd name="T2" fmla="*/ 2 w 22"/>
                <a:gd name="T3" fmla="*/ 9 h 34"/>
                <a:gd name="T4" fmla="*/ 13 w 22"/>
                <a:gd name="T5" fmla="*/ 1 h 34"/>
                <a:gd name="T6" fmla="*/ 21 w 22"/>
                <a:gd name="T7" fmla="*/ 11 h 34"/>
                <a:gd name="T8" fmla="*/ 19 w 22"/>
                <a:gd name="T9" fmla="*/ 34 h 34"/>
                <a:gd name="T10" fmla="*/ 0 w 22"/>
                <a:gd name="T11" fmla="*/ 32 h 34"/>
              </a:gdLst>
              <a:ahLst/>
              <a:cxnLst>
                <a:cxn ang="0">
                  <a:pos x="T0" y="T1"/>
                </a:cxn>
                <a:cxn ang="0">
                  <a:pos x="T2" y="T3"/>
                </a:cxn>
                <a:cxn ang="0">
                  <a:pos x="T4" y="T5"/>
                </a:cxn>
                <a:cxn ang="0">
                  <a:pos x="T6" y="T7"/>
                </a:cxn>
                <a:cxn ang="0">
                  <a:pos x="T8" y="T9"/>
                </a:cxn>
                <a:cxn ang="0">
                  <a:pos x="T10" y="T11"/>
                </a:cxn>
              </a:cxnLst>
              <a:rect l="0" t="0" r="r" b="b"/>
              <a:pathLst>
                <a:path w="22" h="34">
                  <a:moveTo>
                    <a:pt x="0" y="32"/>
                  </a:moveTo>
                  <a:cubicBezTo>
                    <a:pt x="2" y="9"/>
                    <a:pt x="2" y="9"/>
                    <a:pt x="2" y="9"/>
                  </a:cubicBezTo>
                  <a:cubicBezTo>
                    <a:pt x="3" y="4"/>
                    <a:pt x="8" y="0"/>
                    <a:pt x="13" y="1"/>
                  </a:cubicBezTo>
                  <a:cubicBezTo>
                    <a:pt x="18" y="2"/>
                    <a:pt x="22" y="6"/>
                    <a:pt x="21" y="11"/>
                  </a:cubicBezTo>
                  <a:cubicBezTo>
                    <a:pt x="19" y="34"/>
                    <a:pt x="19" y="34"/>
                    <a:pt x="19" y="34"/>
                  </a:cubicBezTo>
                  <a:lnTo>
                    <a:pt x="0" y="32"/>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 name="Freeform 167"/>
            <p:cNvSpPr>
              <a:spLocks/>
            </p:cNvSpPr>
            <p:nvPr userDrawn="1"/>
          </p:nvSpPr>
          <p:spPr bwMode="auto">
            <a:xfrm>
              <a:off x="7912102" y="3199448"/>
              <a:ext cx="31750" cy="57150"/>
            </a:xfrm>
            <a:custGeom>
              <a:avLst/>
              <a:gdLst>
                <a:gd name="T0" fmla="*/ 0 w 22"/>
                <a:gd name="T1" fmla="*/ 37 h 39"/>
                <a:gd name="T2" fmla="*/ 3 w 22"/>
                <a:gd name="T3" fmla="*/ 9 h 39"/>
                <a:gd name="T4" fmla="*/ 13 w 22"/>
                <a:gd name="T5" fmla="*/ 1 h 39"/>
                <a:gd name="T6" fmla="*/ 21 w 22"/>
                <a:gd name="T7" fmla="*/ 11 h 39"/>
                <a:gd name="T8" fmla="*/ 19 w 22"/>
                <a:gd name="T9" fmla="*/ 39 h 39"/>
                <a:gd name="T10" fmla="*/ 0 w 22"/>
                <a:gd name="T11" fmla="*/ 37 h 39"/>
              </a:gdLst>
              <a:ahLst/>
              <a:cxnLst>
                <a:cxn ang="0">
                  <a:pos x="T0" y="T1"/>
                </a:cxn>
                <a:cxn ang="0">
                  <a:pos x="T2" y="T3"/>
                </a:cxn>
                <a:cxn ang="0">
                  <a:pos x="T4" y="T5"/>
                </a:cxn>
                <a:cxn ang="0">
                  <a:pos x="T6" y="T7"/>
                </a:cxn>
                <a:cxn ang="0">
                  <a:pos x="T8" y="T9"/>
                </a:cxn>
                <a:cxn ang="0">
                  <a:pos x="T10" y="T11"/>
                </a:cxn>
              </a:cxnLst>
              <a:rect l="0" t="0" r="r" b="b"/>
              <a:pathLst>
                <a:path w="22" h="39">
                  <a:moveTo>
                    <a:pt x="0" y="37"/>
                  </a:moveTo>
                  <a:cubicBezTo>
                    <a:pt x="3" y="9"/>
                    <a:pt x="3" y="9"/>
                    <a:pt x="3" y="9"/>
                  </a:cubicBezTo>
                  <a:cubicBezTo>
                    <a:pt x="3" y="4"/>
                    <a:pt x="8" y="0"/>
                    <a:pt x="13" y="1"/>
                  </a:cubicBezTo>
                  <a:cubicBezTo>
                    <a:pt x="18" y="1"/>
                    <a:pt x="22" y="6"/>
                    <a:pt x="21" y="11"/>
                  </a:cubicBezTo>
                  <a:cubicBezTo>
                    <a:pt x="19" y="39"/>
                    <a:pt x="19" y="39"/>
                    <a:pt x="19" y="39"/>
                  </a:cubicBezTo>
                  <a:lnTo>
                    <a:pt x="0" y="37"/>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68"/>
            <p:cNvSpPr>
              <a:spLocks/>
            </p:cNvSpPr>
            <p:nvPr userDrawn="1"/>
          </p:nvSpPr>
          <p:spPr bwMode="auto">
            <a:xfrm>
              <a:off x="7856539" y="3243898"/>
              <a:ext cx="139700" cy="60325"/>
            </a:xfrm>
            <a:custGeom>
              <a:avLst/>
              <a:gdLst>
                <a:gd name="T0" fmla="*/ 94 w 94"/>
                <a:gd name="T1" fmla="*/ 9 h 41"/>
                <a:gd name="T2" fmla="*/ 78 w 94"/>
                <a:gd name="T3" fmla="*/ 33 h 41"/>
                <a:gd name="T4" fmla="*/ 36 w 94"/>
                <a:gd name="T5" fmla="*/ 29 h 41"/>
                <a:gd name="T6" fmla="*/ 0 w 94"/>
                <a:gd name="T7" fmla="*/ 0 h 41"/>
                <a:gd name="T8" fmla="*/ 94 w 94"/>
                <a:gd name="T9" fmla="*/ 9 h 41"/>
              </a:gdLst>
              <a:ahLst/>
              <a:cxnLst>
                <a:cxn ang="0">
                  <a:pos x="T0" y="T1"/>
                </a:cxn>
                <a:cxn ang="0">
                  <a:pos x="T2" y="T3"/>
                </a:cxn>
                <a:cxn ang="0">
                  <a:pos x="T4" y="T5"/>
                </a:cxn>
                <a:cxn ang="0">
                  <a:pos x="T6" y="T7"/>
                </a:cxn>
                <a:cxn ang="0">
                  <a:pos x="T8" y="T9"/>
                </a:cxn>
              </a:cxnLst>
              <a:rect l="0" t="0" r="r" b="b"/>
              <a:pathLst>
                <a:path w="94" h="41">
                  <a:moveTo>
                    <a:pt x="94" y="9"/>
                  </a:moveTo>
                  <a:cubicBezTo>
                    <a:pt x="92" y="21"/>
                    <a:pt x="86" y="28"/>
                    <a:pt x="78" y="33"/>
                  </a:cubicBezTo>
                  <a:cubicBezTo>
                    <a:pt x="64" y="41"/>
                    <a:pt x="48" y="39"/>
                    <a:pt x="36" y="29"/>
                  </a:cubicBezTo>
                  <a:cubicBezTo>
                    <a:pt x="0" y="0"/>
                    <a:pt x="0" y="0"/>
                    <a:pt x="0" y="0"/>
                  </a:cubicBezTo>
                  <a:lnTo>
                    <a:pt x="94" y="9"/>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Freeform 169"/>
            <p:cNvSpPr>
              <a:spLocks/>
            </p:cNvSpPr>
            <p:nvPr userDrawn="1"/>
          </p:nvSpPr>
          <p:spPr bwMode="auto">
            <a:xfrm>
              <a:off x="7775577" y="3912235"/>
              <a:ext cx="219075" cy="327025"/>
            </a:xfrm>
            <a:custGeom>
              <a:avLst/>
              <a:gdLst>
                <a:gd name="T0" fmla="*/ 80 w 147"/>
                <a:gd name="T1" fmla="*/ 203 h 221"/>
                <a:gd name="T2" fmla="*/ 128 w 147"/>
                <a:gd name="T3" fmla="*/ 106 h 221"/>
                <a:gd name="T4" fmla="*/ 135 w 147"/>
                <a:gd name="T5" fmla="*/ 127 h 221"/>
                <a:gd name="T6" fmla="*/ 147 w 147"/>
                <a:gd name="T7" fmla="*/ 124 h 221"/>
                <a:gd name="T8" fmla="*/ 136 w 147"/>
                <a:gd name="T9" fmla="*/ 0 h 221"/>
                <a:gd name="T10" fmla="*/ 130 w 147"/>
                <a:gd name="T11" fmla="*/ 0 h 221"/>
                <a:gd name="T12" fmla="*/ 51 w 147"/>
                <a:gd name="T13" fmla="*/ 59 h 221"/>
                <a:gd name="T14" fmla="*/ 2 w 147"/>
                <a:gd name="T15" fmla="*/ 201 h 221"/>
                <a:gd name="T16" fmla="*/ 2 w 147"/>
                <a:gd name="T17" fmla="*/ 221 h 221"/>
                <a:gd name="T18" fmla="*/ 80 w 147"/>
                <a:gd name="T19" fmla="*/ 20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221">
                  <a:moveTo>
                    <a:pt x="80" y="203"/>
                  </a:moveTo>
                  <a:cubicBezTo>
                    <a:pt x="128" y="106"/>
                    <a:pt x="128" y="106"/>
                    <a:pt x="128" y="106"/>
                  </a:cubicBezTo>
                  <a:cubicBezTo>
                    <a:pt x="135" y="127"/>
                    <a:pt x="135" y="127"/>
                    <a:pt x="135" y="127"/>
                  </a:cubicBezTo>
                  <a:cubicBezTo>
                    <a:pt x="147" y="124"/>
                    <a:pt x="147" y="124"/>
                    <a:pt x="147" y="124"/>
                  </a:cubicBezTo>
                  <a:cubicBezTo>
                    <a:pt x="136" y="0"/>
                    <a:pt x="136" y="0"/>
                    <a:pt x="136" y="0"/>
                  </a:cubicBezTo>
                  <a:cubicBezTo>
                    <a:pt x="130" y="0"/>
                    <a:pt x="130" y="0"/>
                    <a:pt x="130" y="0"/>
                  </a:cubicBezTo>
                  <a:cubicBezTo>
                    <a:pt x="94" y="3"/>
                    <a:pt x="64" y="26"/>
                    <a:pt x="51" y="59"/>
                  </a:cubicBezTo>
                  <a:cubicBezTo>
                    <a:pt x="33" y="108"/>
                    <a:pt x="10" y="163"/>
                    <a:pt x="2" y="201"/>
                  </a:cubicBezTo>
                  <a:cubicBezTo>
                    <a:pt x="0" y="208"/>
                    <a:pt x="1" y="214"/>
                    <a:pt x="2" y="221"/>
                  </a:cubicBezTo>
                  <a:lnTo>
                    <a:pt x="80" y="2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Freeform 170"/>
            <p:cNvSpPr>
              <a:spLocks/>
            </p:cNvSpPr>
            <p:nvPr userDrawn="1"/>
          </p:nvSpPr>
          <p:spPr bwMode="auto">
            <a:xfrm>
              <a:off x="7770814" y="4064635"/>
              <a:ext cx="479425" cy="496888"/>
            </a:xfrm>
            <a:custGeom>
              <a:avLst/>
              <a:gdLst>
                <a:gd name="T0" fmla="*/ 319 w 322"/>
                <a:gd name="T1" fmla="*/ 115 h 336"/>
                <a:gd name="T2" fmla="*/ 320 w 322"/>
                <a:gd name="T3" fmla="*/ 123 h 336"/>
                <a:gd name="T4" fmla="*/ 160 w 322"/>
                <a:gd name="T5" fmla="*/ 333 h 336"/>
                <a:gd name="T6" fmla="*/ 152 w 322"/>
                <a:gd name="T7" fmla="*/ 334 h 336"/>
                <a:gd name="T8" fmla="*/ 3 w 322"/>
                <a:gd name="T9" fmla="*/ 220 h 336"/>
                <a:gd name="T10" fmla="*/ 2 w 322"/>
                <a:gd name="T11" fmla="*/ 212 h 336"/>
                <a:gd name="T12" fmla="*/ 162 w 322"/>
                <a:gd name="T13" fmla="*/ 3 h 336"/>
                <a:gd name="T14" fmla="*/ 170 w 322"/>
                <a:gd name="T15" fmla="*/ 2 h 336"/>
                <a:gd name="T16" fmla="*/ 319 w 322"/>
                <a:gd name="T17" fmla="*/ 11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2" h="336">
                  <a:moveTo>
                    <a:pt x="319" y="115"/>
                  </a:moveTo>
                  <a:cubicBezTo>
                    <a:pt x="321" y="117"/>
                    <a:pt x="322" y="121"/>
                    <a:pt x="320" y="123"/>
                  </a:cubicBezTo>
                  <a:cubicBezTo>
                    <a:pt x="160" y="333"/>
                    <a:pt x="160" y="333"/>
                    <a:pt x="160" y="333"/>
                  </a:cubicBezTo>
                  <a:cubicBezTo>
                    <a:pt x="158" y="336"/>
                    <a:pt x="154" y="336"/>
                    <a:pt x="152" y="334"/>
                  </a:cubicBezTo>
                  <a:cubicBezTo>
                    <a:pt x="3" y="220"/>
                    <a:pt x="3" y="220"/>
                    <a:pt x="3" y="220"/>
                  </a:cubicBezTo>
                  <a:cubicBezTo>
                    <a:pt x="0" y="218"/>
                    <a:pt x="0" y="215"/>
                    <a:pt x="2" y="212"/>
                  </a:cubicBezTo>
                  <a:cubicBezTo>
                    <a:pt x="162" y="3"/>
                    <a:pt x="162" y="3"/>
                    <a:pt x="162" y="3"/>
                  </a:cubicBezTo>
                  <a:cubicBezTo>
                    <a:pt x="164" y="0"/>
                    <a:pt x="167" y="0"/>
                    <a:pt x="170" y="2"/>
                  </a:cubicBezTo>
                  <a:cubicBezTo>
                    <a:pt x="319" y="115"/>
                    <a:pt x="319" y="115"/>
                    <a:pt x="319" y="115"/>
                  </a:cubicBezTo>
                </a:path>
              </a:pathLst>
            </a:custGeom>
            <a:solidFill>
              <a:srgbClr val="221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Freeform 171"/>
            <p:cNvSpPr>
              <a:spLocks/>
            </p:cNvSpPr>
            <p:nvPr userDrawn="1"/>
          </p:nvSpPr>
          <p:spPr bwMode="auto">
            <a:xfrm>
              <a:off x="7797802" y="4093210"/>
              <a:ext cx="422275" cy="439738"/>
            </a:xfrm>
            <a:custGeom>
              <a:avLst/>
              <a:gdLst>
                <a:gd name="T0" fmla="*/ 266 w 266"/>
                <a:gd name="T1" fmla="*/ 96 h 277"/>
                <a:gd name="T2" fmla="*/ 127 w 266"/>
                <a:gd name="T3" fmla="*/ 277 h 277"/>
                <a:gd name="T4" fmla="*/ 127 w 266"/>
                <a:gd name="T5" fmla="*/ 277 h 277"/>
                <a:gd name="T6" fmla="*/ 0 w 266"/>
                <a:gd name="T7" fmla="*/ 181 h 277"/>
                <a:gd name="T8" fmla="*/ 139 w 266"/>
                <a:gd name="T9" fmla="*/ 0 h 277"/>
                <a:gd name="T10" fmla="*/ 266 w 266"/>
                <a:gd name="T11" fmla="*/ 96 h 277"/>
              </a:gdLst>
              <a:ahLst/>
              <a:cxnLst>
                <a:cxn ang="0">
                  <a:pos x="T0" y="T1"/>
                </a:cxn>
                <a:cxn ang="0">
                  <a:pos x="T2" y="T3"/>
                </a:cxn>
                <a:cxn ang="0">
                  <a:pos x="T4" y="T5"/>
                </a:cxn>
                <a:cxn ang="0">
                  <a:pos x="T6" y="T7"/>
                </a:cxn>
                <a:cxn ang="0">
                  <a:pos x="T8" y="T9"/>
                </a:cxn>
                <a:cxn ang="0">
                  <a:pos x="T10" y="T11"/>
                </a:cxn>
              </a:cxnLst>
              <a:rect l="0" t="0" r="r" b="b"/>
              <a:pathLst>
                <a:path w="266" h="277">
                  <a:moveTo>
                    <a:pt x="266" y="96"/>
                  </a:moveTo>
                  <a:lnTo>
                    <a:pt x="127" y="277"/>
                  </a:lnTo>
                  <a:lnTo>
                    <a:pt x="127" y="277"/>
                  </a:lnTo>
                  <a:lnTo>
                    <a:pt x="0" y="181"/>
                  </a:lnTo>
                  <a:lnTo>
                    <a:pt x="139" y="0"/>
                  </a:lnTo>
                  <a:lnTo>
                    <a:pt x="266" y="96"/>
                  </a:lnTo>
                  <a:close/>
                </a:path>
              </a:pathLst>
            </a:custGeom>
            <a:solidFill>
              <a:srgbClr val="C6E7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Freeform 172"/>
            <p:cNvSpPr>
              <a:spLocks/>
            </p:cNvSpPr>
            <p:nvPr userDrawn="1"/>
          </p:nvSpPr>
          <p:spPr bwMode="auto">
            <a:xfrm>
              <a:off x="7797802" y="4093210"/>
              <a:ext cx="422275" cy="439738"/>
            </a:xfrm>
            <a:custGeom>
              <a:avLst/>
              <a:gdLst>
                <a:gd name="T0" fmla="*/ 266 w 266"/>
                <a:gd name="T1" fmla="*/ 96 h 277"/>
                <a:gd name="T2" fmla="*/ 127 w 266"/>
                <a:gd name="T3" fmla="*/ 277 h 277"/>
                <a:gd name="T4" fmla="*/ 127 w 266"/>
                <a:gd name="T5" fmla="*/ 277 h 277"/>
                <a:gd name="T6" fmla="*/ 0 w 266"/>
                <a:gd name="T7" fmla="*/ 181 h 277"/>
                <a:gd name="T8" fmla="*/ 139 w 266"/>
                <a:gd name="T9" fmla="*/ 0 h 277"/>
                <a:gd name="T10" fmla="*/ 266 w 266"/>
                <a:gd name="T11" fmla="*/ 96 h 277"/>
              </a:gdLst>
              <a:ahLst/>
              <a:cxnLst>
                <a:cxn ang="0">
                  <a:pos x="T0" y="T1"/>
                </a:cxn>
                <a:cxn ang="0">
                  <a:pos x="T2" y="T3"/>
                </a:cxn>
                <a:cxn ang="0">
                  <a:pos x="T4" y="T5"/>
                </a:cxn>
                <a:cxn ang="0">
                  <a:pos x="T6" y="T7"/>
                </a:cxn>
                <a:cxn ang="0">
                  <a:pos x="T8" y="T9"/>
                </a:cxn>
                <a:cxn ang="0">
                  <a:pos x="T10" y="T11"/>
                </a:cxn>
              </a:cxnLst>
              <a:rect l="0" t="0" r="r" b="b"/>
              <a:pathLst>
                <a:path w="266" h="277">
                  <a:moveTo>
                    <a:pt x="266" y="96"/>
                  </a:moveTo>
                  <a:lnTo>
                    <a:pt x="127" y="277"/>
                  </a:lnTo>
                  <a:lnTo>
                    <a:pt x="127" y="277"/>
                  </a:lnTo>
                  <a:lnTo>
                    <a:pt x="0" y="181"/>
                  </a:lnTo>
                  <a:lnTo>
                    <a:pt x="139" y="0"/>
                  </a:lnTo>
                  <a:lnTo>
                    <a:pt x="266" y="9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73"/>
            <p:cNvSpPr>
              <a:spLocks/>
            </p:cNvSpPr>
            <p:nvPr userDrawn="1"/>
          </p:nvSpPr>
          <p:spPr bwMode="auto">
            <a:xfrm>
              <a:off x="7999414" y="4093210"/>
              <a:ext cx="220663" cy="439738"/>
            </a:xfrm>
            <a:custGeom>
              <a:avLst/>
              <a:gdLst>
                <a:gd name="T0" fmla="*/ 12 w 139"/>
                <a:gd name="T1" fmla="*/ 0 h 277"/>
                <a:gd name="T2" fmla="*/ 12 w 139"/>
                <a:gd name="T3" fmla="*/ 0 h 277"/>
                <a:gd name="T4" fmla="*/ 0 w 139"/>
                <a:gd name="T5" fmla="*/ 277 h 277"/>
                <a:gd name="T6" fmla="*/ 0 w 139"/>
                <a:gd name="T7" fmla="*/ 277 h 277"/>
                <a:gd name="T8" fmla="*/ 139 w 139"/>
                <a:gd name="T9" fmla="*/ 96 h 277"/>
                <a:gd name="T10" fmla="*/ 12 w 139"/>
                <a:gd name="T11" fmla="*/ 0 h 277"/>
              </a:gdLst>
              <a:ahLst/>
              <a:cxnLst>
                <a:cxn ang="0">
                  <a:pos x="T0" y="T1"/>
                </a:cxn>
                <a:cxn ang="0">
                  <a:pos x="T2" y="T3"/>
                </a:cxn>
                <a:cxn ang="0">
                  <a:pos x="T4" y="T5"/>
                </a:cxn>
                <a:cxn ang="0">
                  <a:pos x="T6" y="T7"/>
                </a:cxn>
                <a:cxn ang="0">
                  <a:pos x="T8" y="T9"/>
                </a:cxn>
                <a:cxn ang="0">
                  <a:pos x="T10" y="T11"/>
                </a:cxn>
              </a:cxnLst>
              <a:rect l="0" t="0" r="r" b="b"/>
              <a:pathLst>
                <a:path w="139" h="277">
                  <a:moveTo>
                    <a:pt x="12" y="0"/>
                  </a:moveTo>
                  <a:lnTo>
                    <a:pt x="12" y="0"/>
                  </a:lnTo>
                  <a:lnTo>
                    <a:pt x="0" y="277"/>
                  </a:lnTo>
                  <a:lnTo>
                    <a:pt x="0" y="277"/>
                  </a:lnTo>
                  <a:lnTo>
                    <a:pt x="139" y="96"/>
                  </a:lnTo>
                  <a:lnTo>
                    <a:pt x="12" y="0"/>
                  </a:lnTo>
                  <a:close/>
                </a:path>
              </a:pathLst>
            </a:custGeom>
            <a:solidFill>
              <a:srgbClr val="D1EC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74"/>
            <p:cNvSpPr>
              <a:spLocks/>
            </p:cNvSpPr>
            <p:nvPr userDrawn="1"/>
          </p:nvSpPr>
          <p:spPr bwMode="auto">
            <a:xfrm>
              <a:off x="7999414" y="4093210"/>
              <a:ext cx="220663" cy="439738"/>
            </a:xfrm>
            <a:custGeom>
              <a:avLst/>
              <a:gdLst>
                <a:gd name="T0" fmla="*/ 12 w 139"/>
                <a:gd name="T1" fmla="*/ 0 h 277"/>
                <a:gd name="T2" fmla="*/ 12 w 139"/>
                <a:gd name="T3" fmla="*/ 0 h 277"/>
                <a:gd name="T4" fmla="*/ 0 w 139"/>
                <a:gd name="T5" fmla="*/ 277 h 277"/>
                <a:gd name="T6" fmla="*/ 0 w 139"/>
                <a:gd name="T7" fmla="*/ 277 h 277"/>
                <a:gd name="T8" fmla="*/ 139 w 139"/>
                <a:gd name="T9" fmla="*/ 96 h 277"/>
                <a:gd name="T10" fmla="*/ 12 w 139"/>
                <a:gd name="T11" fmla="*/ 0 h 277"/>
              </a:gdLst>
              <a:ahLst/>
              <a:cxnLst>
                <a:cxn ang="0">
                  <a:pos x="T0" y="T1"/>
                </a:cxn>
                <a:cxn ang="0">
                  <a:pos x="T2" y="T3"/>
                </a:cxn>
                <a:cxn ang="0">
                  <a:pos x="T4" y="T5"/>
                </a:cxn>
                <a:cxn ang="0">
                  <a:pos x="T6" y="T7"/>
                </a:cxn>
                <a:cxn ang="0">
                  <a:pos x="T8" y="T9"/>
                </a:cxn>
                <a:cxn ang="0">
                  <a:pos x="T10" y="T11"/>
                </a:cxn>
              </a:cxnLst>
              <a:rect l="0" t="0" r="r" b="b"/>
              <a:pathLst>
                <a:path w="139" h="277">
                  <a:moveTo>
                    <a:pt x="12" y="0"/>
                  </a:moveTo>
                  <a:lnTo>
                    <a:pt x="12" y="0"/>
                  </a:lnTo>
                  <a:lnTo>
                    <a:pt x="0" y="277"/>
                  </a:lnTo>
                  <a:lnTo>
                    <a:pt x="0" y="277"/>
                  </a:lnTo>
                  <a:lnTo>
                    <a:pt x="139" y="9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Freeform 175"/>
            <p:cNvSpPr>
              <a:spLocks/>
            </p:cNvSpPr>
            <p:nvPr userDrawn="1"/>
          </p:nvSpPr>
          <p:spPr bwMode="auto">
            <a:xfrm>
              <a:off x="7921627" y="4251960"/>
              <a:ext cx="68263" cy="53975"/>
            </a:xfrm>
            <a:custGeom>
              <a:avLst/>
              <a:gdLst>
                <a:gd name="T0" fmla="*/ 42 w 43"/>
                <a:gd name="T1" fmla="*/ 34 h 34"/>
                <a:gd name="T2" fmla="*/ 0 w 43"/>
                <a:gd name="T3" fmla="*/ 3 h 34"/>
                <a:gd name="T4" fmla="*/ 3 w 43"/>
                <a:gd name="T5" fmla="*/ 0 h 34"/>
                <a:gd name="T6" fmla="*/ 43 w 43"/>
                <a:gd name="T7" fmla="*/ 31 h 34"/>
                <a:gd name="T8" fmla="*/ 42 w 43"/>
                <a:gd name="T9" fmla="*/ 34 h 34"/>
              </a:gdLst>
              <a:ahLst/>
              <a:cxnLst>
                <a:cxn ang="0">
                  <a:pos x="T0" y="T1"/>
                </a:cxn>
                <a:cxn ang="0">
                  <a:pos x="T2" y="T3"/>
                </a:cxn>
                <a:cxn ang="0">
                  <a:pos x="T4" y="T5"/>
                </a:cxn>
                <a:cxn ang="0">
                  <a:pos x="T6" y="T7"/>
                </a:cxn>
                <a:cxn ang="0">
                  <a:pos x="T8" y="T9"/>
                </a:cxn>
              </a:cxnLst>
              <a:rect l="0" t="0" r="r" b="b"/>
              <a:pathLst>
                <a:path w="43" h="34">
                  <a:moveTo>
                    <a:pt x="42" y="34"/>
                  </a:moveTo>
                  <a:lnTo>
                    <a:pt x="0" y="3"/>
                  </a:lnTo>
                  <a:lnTo>
                    <a:pt x="3" y="0"/>
                  </a:lnTo>
                  <a:lnTo>
                    <a:pt x="43" y="31"/>
                  </a:lnTo>
                  <a:lnTo>
                    <a:pt x="42" y="34"/>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Freeform 176"/>
            <p:cNvSpPr>
              <a:spLocks/>
            </p:cNvSpPr>
            <p:nvPr userDrawn="1"/>
          </p:nvSpPr>
          <p:spPr bwMode="auto">
            <a:xfrm>
              <a:off x="7988302" y="4301173"/>
              <a:ext cx="101600" cy="80963"/>
            </a:xfrm>
            <a:custGeom>
              <a:avLst/>
              <a:gdLst>
                <a:gd name="T0" fmla="*/ 62 w 64"/>
                <a:gd name="T1" fmla="*/ 51 h 51"/>
                <a:gd name="T2" fmla="*/ 0 w 64"/>
                <a:gd name="T3" fmla="*/ 3 h 51"/>
                <a:gd name="T4" fmla="*/ 1 w 64"/>
                <a:gd name="T5" fmla="*/ 0 h 51"/>
                <a:gd name="T6" fmla="*/ 64 w 64"/>
                <a:gd name="T7" fmla="*/ 48 h 51"/>
                <a:gd name="T8" fmla="*/ 62 w 64"/>
                <a:gd name="T9" fmla="*/ 51 h 51"/>
              </a:gdLst>
              <a:ahLst/>
              <a:cxnLst>
                <a:cxn ang="0">
                  <a:pos x="T0" y="T1"/>
                </a:cxn>
                <a:cxn ang="0">
                  <a:pos x="T2" y="T3"/>
                </a:cxn>
                <a:cxn ang="0">
                  <a:pos x="T4" y="T5"/>
                </a:cxn>
                <a:cxn ang="0">
                  <a:pos x="T6" y="T7"/>
                </a:cxn>
                <a:cxn ang="0">
                  <a:pos x="T8" y="T9"/>
                </a:cxn>
              </a:cxnLst>
              <a:rect l="0" t="0" r="r" b="b"/>
              <a:pathLst>
                <a:path w="64" h="51">
                  <a:moveTo>
                    <a:pt x="62" y="51"/>
                  </a:moveTo>
                  <a:lnTo>
                    <a:pt x="0" y="3"/>
                  </a:lnTo>
                  <a:lnTo>
                    <a:pt x="1" y="0"/>
                  </a:lnTo>
                  <a:lnTo>
                    <a:pt x="64" y="48"/>
                  </a:lnTo>
                  <a:lnTo>
                    <a:pt x="62"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Freeform 177"/>
            <p:cNvSpPr>
              <a:spLocks/>
            </p:cNvSpPr>
            <p:nvPr userDrawn="1"/>
          </p:nvSpPr>
          <p:spPr bwMode="auto">
            <a:xfrm>
              <a:off x="7907339" y="4272598"/>
              <a:ext cx="166688" cy="128588"/>
            </a:xfrm>
            <a:custGeom>
              <a:avLst/>
              <a:gdLst>
                <a:gd name="T0" fmla="*/ 103 w 105"/>
                <a:gd name="T1" fmla="*/ 81 h 81"/>
                <a:gd name="T2" fmla="*/ 0 w 105"/>
                <a:gd name="T3" fmla="*/ 3 h 81"/>
                <a:gd name="T4" fmla="*/ 3 w 105"/>
                <a:gd name="T5" fmla="*/ 0 h 81"/>
                <a:gd name="T6" fmla="*/ 105 w 105"/>
                <a:gd name="T7" fmla="*/ 78 h 81"/>
                <a:gd name="T8" fmla="*/ 103 w 105"/>
                <a:gd name="T9" fmla="*/ 81 h 81"/>
              </a:gdLst>
              <a:ahLst/>
              <a:cxnLst>
                <a:cxn ang="0">
                  <a:pos x="T0" y="T1"/>
                </a:cxn>
                <a:cxn ang="0">
                  <a:pos x="T2" y="T3"/>
                </a:cxn>
                <a:cxn ang="0">
                  <a:pos x="T4" y="T5"/>
                </a:cxn>
                <a:cxn ang="0">
                  <a:pos x="T6" y="T7"/>
                </a:cxn>
                <a:cxn ang="0">
                  <a:pos x="T8" y="T9"/>
                </a:cxn>
              </a:cxnLst>
              <a:rect l="0" t="0" r="r" b="b"/>
              <a:pathLst>
                <a:path w="105" h="81">
                  <a:moveTo>
                    <a:pt x="103" y="81"/>
                  </a:moveTo>
                  <a:lnTo>
                    <a:pt x="0" y="3"/>
                  </a:lnTo>
                  <a:lnTo>
                    <a:pt x="3" y="0"/>
                  </a:lnTo>
                  <a:lnTo>
                    <a:pt x="105" y="78"/>
                  </a:lnTo>
                  <a:lnTo>
                    <a:pt x="103"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Freeform 178"/>
            <p:cNvSpPr>
              <a:spLocks/>
            </p:cNvSpPr>
            <p:nvPr userDrawn="1"/>
          </p:nvSpPr>
          <p:spPr bwMode="auto">
            <a:xfrm>
              <a:off x="7893052" y="4293235"/>
              <a:ext cx="166688" cy="128588"/>
            </a:xfrm>
            <a:custGeom>
              <a:avLst/>
              <a:gdLst>
                <a:gd name="T0" fmla="*/ 102 w 105"/>
                <a:gd name="T1" fmla="*/ 81 h 81"/>
                <a:gd name="T2" fmla="*/ 0 w 105"/>
                <a:gd name="T3" fmla="*/ 2 h 81"/>
                <a:gd name="T4" fmla="*/ 1 w 105"/>
                <a:gd name="T5" fmla="*/ 0 h 81"/>
                <a:gd name="T6" fmla="*/ 105 w 105"/>
                <a:gd name="T7" fmla="*/ 78 h 81"/>
                <a:gd name="T8" fmla="*/ 102 w 105"/>
                <a:gd name="T9" fmla="*/ 81 h 81"/>
              </a:gdLst>
              <a:ahLst/>
              <a:cxnLst>
                <a:cxn ang="0">
                  <a:pos x="T0" y="T1"/>
                </a:cxn>
                <a:cxn ang="0">
                  <a:pos x="T2" y="T3"/>
                </a:cxn>
                <a:cxn ang="0">
                  <a:pos x="T4" y="T5"/>
                </a:cxn>
                <a:cxn ang="0">
                  <a:pos x="T6" y="T7"/>
                </a:cxn>
                <a:cxn ang="0">
                  <a:pos x="T8" y="T9"/>
                </a:cxn>
              </a:cxnLst>
              <a:rect l="0" t="0" r="r" b="b"/>
              <a:pathLst>
                <a:path w="105" h="81">
                  <a:moveTo>
                    <a:pt x="102" y="81"/>
                  </a:moveTo>
                  <a:lnTo>
                    <a:pt x="0" y="2"/>
                  </a:lnTo>
                  <a:lnTo>
                    <a:pt x="1" y="0"/>
                  </a:lnTo>
                  <a:lnTo>
                    <a:pt x="105" y="78"/>
                  </a:lnTo>
                  <a:lnTo>
                    <a:pt x="10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Freeform 179"/>
            <p:cNvSpPr>
              <a:spLocks/>
            </p:cNvSpPr>
            <p:nvPr userDrawn="1"/>
          </p:nvSpPr>
          <p:spPr bwMode="auto">
            <a:xfrm>
              <a:off x="7877177" y="4312285"/>
              <a:ext cx="166688" cy="128588"/>
            </a:xfrm>
            <a:custGeom>
              <a:avLst/>
              <a:gdLst>
                <a:gd name="T0" fmla="*/ 102 w 105"/>
                <a:gd name="T1" fmla="*/ 81 h 81"/>
                <a:gd name="T2" fmla="*/ 0 w 105"/>
                <a:gd name="T3" fmla="*/ 3 h 81"/>
                <a:gd name="T4" fmla="*/ 2 w 105"/>
                <a:gd name="T5" fmla="*/ 0 h 81"/>
                <a:gd name="T6" fmla="*/ 105 w 105"/>
                <a:gd name="T7" fmla="*/ 78 h 81"/>
                <a:gd name="T8" fmla="*/ 102 w 105"/>
                <a:gd name="T9" fmla="*/ 81 h 81"/>
              </a:gdLst>
              <a:ahLst/>
              <a:cxnLst>
                <a:cxn ang="0">
                  <a:pos x="T0" y="T1"/>
                </a:cxn>
                <a:cxn ang="0">
                  <a:pos x="T2" y="T3"/>
                </a:cxn>
                <a:cxn ang="0">
                  <a:pos x="T4" y="T5"/>
                </a:cxn>
                <a:cxn ang="0">
                  <a:pos x="T6" y="T7"/>
                </a:cxn>
                <a:cxn ang="0">
                  <a:pos x="T8" y="T9"/>
                </a:cxn>
              </a:cxnLst>
              <a:rect l="0" t="0" r="r" b="b"/>
              <a:pathLst>
                <a:path w="105" h="81">
                  <a:moveTo>
                    <a:pt x="102" y="81"/>
                  </a:moveTo>
                  <a:lnTo>
                    <a:pt x="0" y="3"/>
                  </a:lnTo>
                  <a:lnTo>
                    <a:pt x="2" y="0"/>
                  </a:lnTo>
                  <a:lnTo>
                    <a:pt x="105" y="78"/>
                  </a:lnTo>
                  <a:lnTo>
                    <a:pt x="10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Freeform 180"/>
            <p:cNvSpPr>
              <a:spLocks/>
            </p:cNvSpPr>
            <p:nvPr userDrawn="1"/>
          </p:nvSpPr>
          <p:spPr bwMode="auto">
            <a:xfrm>
              <a:off x="7966077" y="4382135"/>
              <a:ext cx="77788" cy="58738"/>
            </a:xfrm>
            <a:custGeom>
              <a:avLst/>
              <a:gdLst>
                <a:gd name="T0" fmla="*/ 46 w 49"/>
                <a:gd name="T1" fmla="*/ 37 h 37"/>
                <a:gd name="T2" fmla="*/ 0 w 49"/>
                <a:gd name="T3" fmla="*/ 2 h 37"/>
                <a:gd name="T4" fmla="*/ 2 w 49"/>
                <a:gd name="T5" fmla="*/ 0 h 37"/>
                <a:gd name="T6" fmla="*/ 49 w 49"/>
                <a:gd name="T7" fmla="*/ 34 h 37"/>
                <a:gd name="T8" fmla="*/ 46 w 49"/>
                <a:gd name="T9" fmla="*/ 37 h 37"/>
              </a:gdLst>
              <a:ahLst/>
              <a:cxnLst>
                <a:cxn ang="0">
                  <a:pos x="T0" y="T1"/>
                </a:cxn>
                <a:cxn ang="0">
                  <a:pos x="T2" y="T3"/>
                </a:cxn>
                <a:cxn ang="0">
                  <a:pos x="T4" y="T5"/>
                </a:cxn>
                <a:cxn ang="0">
                  <a:pos x="T6" y="T7"/>
                </a:cxn>
                <a:cxn ang="0">
                  <a:pos x="T8" y="T9"/>
                </a:cxn>
              </a:cxnLst>
              <a:rect l="0" t="0" r="r" b="b"/>
              <a:pathLst>
                <a:path w="49" h="37">
                  <a:moveTo>
                    <a:pt x="46" y="37"/>
                  </a:moveTo>
                  <a:lnTo>
                    <a:pt x="0" y="2"/>
                  </a:lnTo>
                  <a:lnTo>
                    <a:pt x="2" y="0"/>
                  </a:lnTo>
                  <a:lnTo>
                    <a:pt x="49" y="34"/>
                  </a:lnTo>
                  <a:lnTo>
                    <a:pt x="46" y="37"/>
                  </a:ln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Freeform 181"/>
            <p:cNvSpPr>
              <a:spLocks/>
            </p:cNvSpPr>
            <p:nvPr userDrawn="1"/>
          </p:nvSpPr>
          <p:spPr bwMode="auto">
            <a:xfrm>
              <a:off x="7861302" y="4332923"/>
              <a:ext cx="166688" cy="128588"/>
            </a:xfrm>
            <a:custGeom>
              <a:avLst/>
              <a:gdLst>
                <a:gd name="T0" fmla="*/ 103 w 105"/>
                <a:gd name="T1" fmla="*/ 81 h 81"/>
                <a:gd name="T2" fmla="*/ 0 w 105"/>
                <a:gd name="T3" fmla="*/ 3 h 81"/>
                <a:gd name="T4" fmla="*/ 3 w 105"/>
                <a:gd name="T5" fmla="*/ 0 h 81"/>
                <a:gd name="T6" fmla="*/ 105 w 105"/>
                <a:gd name="T7" fmla="*/ 78 h 81"/>
                <a:gd name="T8" fmla="*/ 103 w 105"/>
                <a:gd name="T9" fmla="*/ 81 h 81"/>
              </a:gdLst>
              <a:ahLst/>
              <a:cxnLst>
                <a:cxn ang="0">
                  <a:pos x="T0" y="T1"/>
                </a:cxn>
                <a:cxn ang="0">
                  <a:pos x="T2" y="T3"/>
                </a:cxn>
                <a:cxn ang="0">
                  <a:pos x="T4" y="T5"/>
                </a:cxn>
                <a:cxn ang="0">
                  <a:pos x="T6" y="T7"/>
                </a:cxn>
                <a:cxn ang="0">
                  <a:pos x="T8" y="T9"/>
                </a:cxn>
              </a:cxnLst>
              <a:rect l="0" t="0" r="r" b="b"/>
              <a:pathLst>
                <a:path w="105" h="81">
                  <a:moveTo>
                    <a:pt x="103" y="81"/>
                  </a:moveTo>
                  <a:lnTo>
                    <a:pt x="0" y="3"/>
                  </a:lnTo>
                  <a:lnTo>
                    <a:pt x="3" y="0"/>
                  </a:lnTo>
                  <a:lnTo>
                    <a:pt x="105" y="78"/>
                  </a:lnTo>
                  <a:lnTo>
                    <a:pt x="103"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Freeform 182"/>
            <p:cNvSpPr>
              <a:spLocks/>
            </p:cNvSpPr>
            <p:nvPr userDrawn="1"/>
          </p:nvSpPr>
          <p:spPr bwMode="auto">
            <a:xfrm>
              <a:off x="7845427" y="4351973"/>
              <a:ext cx="168275" cy="128588"/>
            </a:xfrm>
            <a:custGeom>
              <a:avLst/>
              <a:gdLst>
                <a:gd name="T0" fmla="*/ 104 w 106"/>
                <a:gd name="T1" fmla="*/ 81 h 81"/>
                <a:gd name="T2" fmla="*/ 0 w 106"/>
                <a:gd name="T3" fmla="*/ 4 h 81"/>
                <a:gd name="T4" fmla="*/ 2 w 106"/>
                <a:gd name="T5" fmla="*/ 0 h 81"/>
                <a:gd name="T6" fmla="*/ 106 w 106"/>
                <a:gd name="T7" fmla="*/ 78 h 81"/>
                <a:gd name="T8" fmla="*/ 104 w 106"/>
                <a:gd name="T9" fmla="*/ 81 h 81"/>
              </a:gdLst>
              <a:ahLst/>
              <a:cxnLst>
                <a:cxn ang="0">
                  <a:pos x="T0" y="T1"/>
                </a:cxn>
                <a:cxn ang="0">
                  <a:pos x="T2" y="T3"/>
                </a:cxn>
                <a:cxn ang="0">
                  <a:pos x="T4" y="T5"/>
                </a:cxn>
                <a:cxn ang="0">
                  <a:pos x="T6" y="T7"/>
                </a:cxn>
                <a:cxn ang="0">
                  <a:pos x="T8" y="T9"/>
                </a:cxn>
              </a:cxnLst>
              <a:rect l="0" t="0" r="r" b="b"/>
              <a:pathLst>
                <a:path w="106" h="81">
                  <a:moveTo>
                    <a:pt x="104" y="81"/>
                  </a:moveTo>
                  <a:lnTo>
                    <a:pt x="0" y="4"/>
                  </a:lnTo>
                  <a:lnTo>
                    <a:pt x="2" y="0"/>
                  </a:lnTo>
                  <a:lnTo>
                    <a:pt x="106" y="78"/>
                  </a:lnTo>
                  <a:lnTo>
                    <a:pt x="104"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Freeform 183"/>
            <p:cNvSpPr>
              <a:spLocks/>
            </p:cNvSpPr>
            <p:nvPr userDrawn="1"/>
          </p:nvSpPr>
          <p:spPr bwMode="auto">
            <a:xfrm>
              <a:off x="7845427" y="4351973"/>
              <a:ext cx="95250" cy="74613"/>
            </a:xfrm>
            <a:custGeom>
              <a:avLst/>
              <a:gdLst>
                <a:gd name="T0" fmla="*/ 57 w 60"/>
                <a:gd name="T1" fmla="*/ 47 h 47"/>
                <a:gd name="T2" fmla="*/ 0 w 60"/>
                <a:gd name="T3" fmla="*/ 4 h 47"/>
                <a:gd name="T4" fmla="*/ 2 w 60"/>
                <a:gd name="T5" fmla="*/ 0 h 47"/>
                <a:gd name="T6" fmla="*/ 60 w 60"/>
                <a:gd name="T7" fmla="*/ 43 h 47"/>
                <a:gd name="T8" fmla="*/ 57 w 60"/>
                <a:gd name="T9" fmla="*/ 47 h 47"/>
              </a:gdLst>
              <a:ahLst/>
              <a:cxnLst>
                <a:cxn ang="0">
                  <a:pos x="T0" y="T1"/>
                </a:cxn>
                <a:cxn ang="0">
                  <a:pos x="T2" y="T3"/>
                </a:cxn>
                <a:cxn ang="0">
                  <a:pos x="T4" y="T5"/>
                </a:cxn>
                <a:cxn ang="0">
                  <a:pos x="T6" y="T7"/>
                </a:cxn>
                <a:cxn ang="0">
                  <a:pos x="T8" y="T9"/>
                </a:cxn>
              </a:cxnLst>
              <a:rect l="0" t="0" r="r" b="b"/>
              <a:pathLst>
                <a:path w="60" h="47">
                  <a:moveTo>
                    <a:pt x="57" y="47"/>
                  </a:moveTo>
                  <a:lnTo>
                    <a:pt x="0" y="4"/>
                  </a:lnTo>
                  <a:lnTo>
                    <a:pt x="2" y="0"/>
                  </a:lnTo>
                  <a:lnTo>
                    <a:pt x="60" y="43"/>
                  </a:lnTo>
                  <a:lnTo>
                    <a:pt x="57" y="4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Freeform 184"/>
            <p:cNvSpPr>
              <a:spLocks/>
            </p:cNvSpPr>
            <p:nvPr userDrawn="1"/>
          </p:nvSpPr>
          <p:spPr bwMode="auto">
            <a:xfrm>
              <a:off x="7958139" y="4172585"/>
              <a:ext cx="90488" cy="104775"/>
            </a:xfrm>
            <a:custGeom>
              <a:avLst/>
              <a:gdLst>
                <a:gd name="T0" fmla="*/ 40 w 61"/>
                <a:gd name="T1" fmla="*/ 55 h 71"/>
                <a:gd name="T2" fmla="*/ 0 w 61"/>
                <a:gd name="T3" fmla="*/ 71 h 71"/>
                <a:gd name="T4" fmla="*/ 5 w 61"/>
                <a:gd name="T5" fmla="*/ 28 h 71"/>
                <a:gd name="T6" fmla="*/ 45 w 61"/>
                <a:gd name="T7" fmla="*/ 12 h 71"/>
                <a:gd name="T8" fmla="*/ 46 w 61"/>
                <a:gd name="T9" fmla="*/ 12 h 71"/>
                <a:gd name="T10" fmla="*/ 40 w 61"/>
                <a:gd name="T11" fmla="*/ 55 h 71"/>
              </a:gdLst>
              <a:ahLst/>
              <a:cxnLst>
                <a:cxn ang="0">
                  <a:pos x="T0" y="T1"/>
                </a:cxn>
                <a:cxn ang="0">
                  <a:pos x="T2" y="T3"/>
                </a:cxn>
                <a:cxn ang="0">
                  <a:pos x="T4" y="T5"/>
                </a:cxn>
                <a:cxn ang="0">
                  <a:pos x="T6" y="T7"/>
                </a:cxn>
                <a:cxn ang="0">
                  <a:pos x="T8" y="T9"/>
                </a:cxn>
                <a:cxn ang="0">
                  <a:pos x="T10" y="T11"/>
                </a:cxn>
              </a:cxnLst>
              <a:rect l="0" t="0" r="r" b="b"/>
              <a:pathLst>
                <a:path w="61" h="71">
                  <a:moveTo>
                    <a:pt x="40" y="55"/>
                  </a:moveTo>
                  <a:cubicBezTo>
                    <a:pt x="0" y="71"/>
                    <a:pt x="0" y="71"/>
                    <a:pt x="0" y="71"/>
                  </a:cubicBezTo>
                  <a:cubicBezTo>
                    <a:pt x="5" y="28"/>
                    <a:pt x="5" y="28"/>
                    <a:pt x="5" y="28"/>
                  </a:cubicBezTo>
                  <a:cubicBezTo>
                    <a:pt x="8" y="9"/>
                    <a:pt x="30" y="0"/>
                    <a:pt x="45" y="12"/>
                  </a:cubicBezTo>
                  <a:cubicBezTo>
                    <a:pt x="46" y="12"/>
                    <a:pt x="46" y="12"/>
                    <a:pt x="46" y="12"/>
                  </a:cubicBezTo>
                  <a:cubicBezTo>
                    <a:pt x="61" y="24"/>
                    <a:pt x="58" y="47"/>
                    <a:pt x="40" y="55"/>
                  </a:cubicBez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Freeform 185"/>
            <p:cNvSpPr>
              <a:spLocks/>
            </p:cNvSpPr>
            <p:nvPr userDrawn="1"/>
          </p:nvSpPr>
          <p:spPr bwMode="auto">
            <a:xfrm>
              <a:off x="7967664" y="4196398"/>
              <a:ext cx="55563" cy="63500"/>
            </a:xfrm>
            <a:custGeom>
              <a:avLst/>
              <a:gdLst>
                <a:gd name="T0" fmla="*/ 29 w 37"/>
                <a:gd name="T1" fmla="*/ 30 h 43"/>
                <a:gd name="T2" fmla="*/ 29 w 37"/>
                <a:gd name="T3" fmla="*/ 28 h 43"/>
                <a:gd name="T4" fmla="*/ 30 w 37"/>
                <a:gd name="T5" fmla="*/ 26 h 43"/>
                <a:gd name="T6" fmla="*/ 32 w 37"/>
                <a:gd name="T7" fmla="*/ 24 h 43"/>
                <a:gd name="T8" fmla="*/ 33 w 37"/>
                <a:gd name="T9" fmla="*/ 12 h 43"/>
                <a:gd name="T10" fmla="*/ 35 w 37"/>
                <a:gd name="T11" fmla="*/ 10 h 43"/>
                <a:gd name="T12" fmla="*/ 33 w 37"/>
                <a:gd name="T13" fmla="*/ 2 h 43"/>
                <a:gd name="T14" fmla="*/ 25 w 37"/>
                <a:gd name="T15" fmla="*/ 3 h 43"/>
                <a:gd name="T16" fmla="*/ 24 w 37"/>
                <a:gd name="T17" fmla="*/ 5 h 43"/>
                <a:gd name="T18" fmla="*/ 13 w 37"/>
                <a:gd name="T19" fmla="*/ 9 h 43"/>
                <a:gd name="T20" fmla="*/ 11 w 37"/>
                <a:gd name="T21" fmla="*/ 11 h 43"/>
                <a:gd name="T22" fmla="*/ 10 w 37"/>
                <a:gd name="T23" fmla="*/ 13 h 43"/>
                <a:gd name="T24" fmla="*/ 7 w 37"/>
                <a:gd name="T25" fmla="*/ 14 h 43"/>
                <a:gd name="T26" fmla="*/ 7 w 37"/>
                <a:gd name="T27" fmla="*/ 16 h 43"/>
                <a:gd name="T28" fmla="*/ 5 w 37"/>
                <a:gd name="T29" fmla="*/ 20 h 43"/>
                <a:gd name="T30" fmla="*/ 3 w 37"/>
                <a:gd name="T31" fmla="*/ 24 h 43"/>
                <a:gd name="T32" fmla="*/ 3 w 37"/>
                <a:gd name="T33" fmla="*/ 24 h 43"/>
                <a:gd name="T34" fmla="*/ 7 w 37"/>
                <a:gd name="T35" fmla="*/ 20 h 43"/>
                <a:gd name="T36" fmla="*/ 7 w 37"/>
                <a:gd name="T37" fmla="*/ 28 h 43"/>
                <a:gd name="T38" fmla="*/ 5 w 37"/>
                <a:gd name="T39" fmla="*/ 30 h 43"/>
                <a:gd name="T40" fmla="*/ 3 w 37"/>
                <a:gd name="T41" fmla="*/ 29 h 43"/>
                <a:gd name="T42" fmla="*/ 4 w 37"/>
                <a:gd name="T43" fmla="*/ 40 h 43"/>
                <a:gd name="T44" fmla="*/ 16 w 37"/>
                <a:gd name="T45" fmla="*/ 39 h 43"/>
                <a:gd name="T46" fmla="*/ 14 w 37"/>
                <a:gd name="T47" fmla="*/ 37 h 43"/>
                <a:gd name="T48" fmla="*/ 16 w 37"/>
                <a:gd name="T49" fmla="*/ 34 h 43"/>
                <a:gd name="T50" fmla="*/ 24 w 37"/>
                <a:gd name="T51" fmla="*/ 32 h 43"/>
                <a:gd name="T52" fmla="*/ 20 w 37"/>
                <a:gd name="T53" fmla="*/ 37 h 43"/>
                <a:gd name="T54" fmla="*/ 20 w 37"/>
                <a:gd name="T55" fmla="*/ 37 h 43"/>
                <a:gd name="T56" fmla="*/ 24 w 37"/>
                <a:gd name="T57" fmla="*/ 34 h 43"/>
                <a:gd name="T58" fmla="*/ 27 w 37"/>
                <a:gd name="T59" fmla="*/ 31 h 43"/>
                <a:gd name="T60" fmla="*/ 29 w 37"/>
                <a:gd name="T61"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3">
                  <a:moveTo>
                    <a:pt x="29" y="30"/>
                  </a:moveTo>
                  <a:cubicBezTo>
                    <a:pt x="29" y="30"/>
                    <a:pt x="29" y="29"/>
                    <a:pt x="29" y="28"/>
                  </a:cubicBezTo>
                  <a:cubicBezTo>
                    <a:pt x="30" y="26"/>
                    <a:pt x="30" y="26"/>
                    <a:pt x="30" y="26"/>
                  </a:cubicBezTo>
                  <a:cubicBezTo>
                    <a:pt x="32" y="24"/>
                    <a:pt x="32" y="24"/>
                    <a:pt x="32" y="24"/>
                  </a:cubicBezTo>
                  <a:cubicBezTo>
                    <a:pt x="35" y="20"/>
                    <a:pt x="35" y="16"/>
                    <a:pt x="33" y="12"/>
                  </a:cubicBezTo>
                  <a:cubicBezTo>
                    <a:pt x="34" y="11"/>
                    <a:pt x="34" y="11"/>
                    <a:pt x="35" y="10"/>
                  </a:cubicBezTo>
                  <a:cubicBezTo>
                    <a:pt x="37" y="8"/>
                    <a:pt x="36" y="4"/>
                    <a:pt x="33" y="2"/>
                  </a:cubicBezTo>
                  <a:cubicBezTo>
                    <a:pt x="31" y="0"/>
                    <a:pt x="27" y="1"/>
                    <a:pt x="25" y="3"/>
                  </a:cubicBezTo>
                  <a:cubicBezTo>
                    <a:pt x="25" y="4"/>
                    <a:pt x="25" y="4"/>
                    <a:pt x="24" y="5"/>
                  </a:cubicBezTo>
                  <a:cubicBezTo>
                    <a:pt x="20" y="4"/>
                    <a:pt x="15" y="6"/>
                    <a:pt x="13" y="9"/>
                  </a:cubicBezTo>
                  <a:cubicBezTo>
                    <a:pt x="11" y="11"/>
                    <a:pt x="11" y="11"/>
                    <a:pt x="11" y="11"/>
                  </a:cubicBezTo>
                  <a:cubicBezTo>
                    <a:pt x="10" y="13"/>
                    <a:pt x="10" y="13"/>
                    <a:pt x="10" y="13"/>
                  </a:cubicBezTo>
                  <a:cubicBezTo>
                    <a:pt x="9" y="13"/>
                    <a:pt x="8" y="13"/>
                    <a:pt x="7" y="14"/>
                  </a:cubicBezTo>
                  <a:cubicBezTo>
                    <a:pt x="7" y="15"/>
                    <a:pt x="7" y="16"/>
                    <a:pt x="7" y="16"/>
                  </a:cubicBezTo>
                  <a:cubicBezTo>
                    <a:pt x="5" y="20"/>
                    <a:pt x="5" y="20"/>
                    <a:pt x="5" y="20"/>
                  </a:cubicBezTo>
                  <a:cubicBezTo>
                    <a:pt x="4" y="21"/>
                    <a:pt x="3" y="22"/>
                    <a:pt x="3" y="24"/>
                  </a:cubicBezTo>
                  <a:cubicBezTo>
                    <a:pt x="3" y="24"/>
                    <a:pt x="3" y="24"/>
                    <a:pt x="3" y="24"/>
                  </a:cubicBezTo>
                  <a:cubicBezTo>
                    <a:pt x="7" y="20"/>
                    <a:pt x="7" y="20"/>
                    <a:pt x="7" y="20"/>
                  </a:cubicBezTo>
                  <a:cubicBezTo>
                    <a:pt x="6" y="22"/>
                    <a:pt x="6" y="25"/>
                    <a:pt x="7" y="28"/>
                  </a:cubicBezTo>
                  <a:cubicBezTo>
                    <a:pt x="5" y="30"/>
                    <a:pt x="5" y="30"/>
                    <a:pt x="5" y="30"/>
                  </a:cubicBezTo>
                  <a:cubicBezTo>
                    <a:pt x="3" y="29"/>
                    <a:pt x="3" y="29"/>
                    <a:pt x="3" y="29"/>
                  </a:cubicBezTo>
                  <a:cubicBezTo>
                    <a:pt x="0" y="32"/>
                    <a:pt x="1" y="38"/>
                    <a:pt x="4" y="40"/>
                  </a:cubicBezTo>
                  <a:cubicBezTo>
                    <a:pt x="8" y="43"/>
                    <a:pt x="13" y="42"/>
                    <a:pt x="16" y="39"/>
                  </a:cubicBezTo>
                  <a:cubicBezTo>
                    <a:pt x="14" y="37"/>
                    <a:pt x="14" y="37"/>
                    <a:pt x="14" y="37"/>
                  </a:cubicBezTo>
                  <a:cubicBezTo>
                    <a:pt x="16" y="34"/>
                    <a:pt x="16" y="34"/>
                    <a:pt x="16" y="34"/>
                  </a:cubicBezTo>
                  <a:cubicBezTo>
                    <a:pt x="19" y="35"/>
                    <a:pt x="21" y="34"/>
                    <a:pt x="24" y="32"/>
                  </a:cubicBezTo>
                  <a:cubicBezTo>
                    <a:pt x="20" y="37"/>
                    <a:pt x="20" y="37"/>
                    <a:pt x="20" y="37"/>
                  </a:cubicBezTo>
                  <a:cubicBezTo>
                    <a:pt x="20" y="37"/>
                    <a:pt x="20" y="37"/>
                    <a:pt x="20" y="37"/>
                  </a:cubicBezTo>
                  <a:cubicBezTo>
                    <a:pt x="22" y="37"/>
                    <a:pt x="23" y="36"/>
                    <a:pt x="24" y="34"/>
                  </a:cubicBezTo>
                  <a:cubicBezTo>
                    <a:pt x="27" y="31"/>
                    <a:pt x="27" y="31"/>
                    <a:pt x="27" y="31"/>
                  </a:cubicBezTo>
                  <a:cubicBezTo>
                    <a:pt x="27" y="31"/>
                    <a:pt x="28" y="31"/>
                    <a:pt x="29"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Freeform 186"/>
            <p:cNvSpPr>
              <a:spLocks/>
            </p:cNvSpPr>
            <p:nvPr userDrawn="1"/>
          </p:nvSpPr>
          <p:spPr bwMode="auto">
            <a:xfrm>
              <a:off x="8005764" y="4304348"/>
              <a:ext cx="90488" cy="106363"/>
            </a:xfrm>
            <a:custGeom>
              <a:avLst/>
              <a:gdLst>
                <a:gd name="T0" fmla="*/ 40 w 61"/>
                <a:gd name="T1" fmla="*/ 55 h 72"/>
                <a:gd name="T2" fmla="*/ 0 w 61"/>
                <a:gd name="T3" fmla="*/ 72 h 72"/>
                <a:gd name="T4" fmla="*/ 6 w 61"/>
                <a:gd name="T5" fmla="*/ 28 h 72"/>
                <a:gd name="T6" fmla="*/ 45 w 61"/>
                <a:gd name="T7" fmla="*/ 12 h 72"/>
                <a:gd name="T8" fmla="*/ 46 w 61"/>
                <a:gd name="T9" fmla="*/ 12 h 72"/>
                <a:gd name="T10" fmla="*/ 40 w 61"/>
                <a:gd name="T11" fmla="*/ 55 h 72"/>
              </a:gdLst>
              <a:ahLst/>
              <a:cxnLst>
                <a:cxn ang="0">
                  <a:pos x="T0" y="T1"/>
                </a:cxn>
                <a:cxn ang="0">
                  <a:pos x="T2" y="T3"/>
                </a:cxn>
                <a:cxn ang="0">
                  <a:pos x="T4" y="T5"/>
                </a:cxn>
                <a:cxn ang="0">
                  <a:pos x="T6" y="T7"/>
                </a:cxn>
                <a:cxn ang="0">
                  <a:pos x="T8" y="T9"/>
                </a:cxn>
                <a:cxn ang="0">
                  <a:pos x="T10" y="T11"/>
                </a:cxn>
              </a:cxnLst>
              <a:rect l="0" t="0" r="r" b="b"/>
              <a:pathLst>
                <a:path w="61" h="72">
                  <a:moveTo>
                    <a:pt x="40" y="55"/>
                  </a:moveTo>
                  <a:cubicBezTo>
                    <a:pt x="0" y="72"/>
                    <a:pt x="0" y="72"/>
                    <a:pt x="0" y="72"/>
                  </a:cubicBezTo>
                  <a:cubicBezTo>
                    <a:pt x="6" y="28"/>
                    <a:pt x="6" y="28"/>
                    <a:pt x="6" y="28"/>
                  </a:cubicBezTo>
                  <a:cubicBezTo>
                    <a:pt x="8" y="9"/>
                    <a:pt x="30" y="0"/>
                    <a:pt x="45" y="12"/>
                  </a:cubicBezTo>
                  <a:cubicBezTo>
                    <a:pt x="46" y="12"/>
                    <a:pt x="46" y="12"/>
                    <a:pt x="46" y="12"/>
                  </a:cubicBezTo>
                  <a:cubicBezTo>
                    <a:pt x="61" y="24"/>
                    <a:pt x="58" y="47"/>
                    <a:pt x="40" y="55"/>
                  </a:cubicBez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187"/>
            <p:cNvSpPr>
              <a:spLocks/>
            </p:cNvSpPr>
            <p:nvPr userDrawn="1"/>
          </p:nvSpPr>
          <p:spPr bwMode="auto">
            <a:xfrm>
              <a:off x="7893052" y="4282123"/>
              <a:ext cx="90488" cy="106363"/>
            </a:xfrm>
            <a:custGeom>
              <a:avLst/>
              <a:gdLst>
                <a:gd name="T0" fmla="*/ 40 w 61"/>
                <a:gd name="T1" fmla="*/ 55 h 72"/>
                <a:gd name="T2" fmla="*/ 0 w 61"/>
                <a:gd name="T3" fmla="*/ 72 h 72"/>
                <a:gd name="T4" fmla="*/ 6 w 61"/>
                <a:gd name="T5" fmla="*/ 29 h 72"/>
                <a:gd name="T6" fmla="*/ 45 w 61"/>
                <a:gd name="T7" fmla="*/ 12 h 72"/>
                <a:gd name="T8" fmla="*/ 46 w 61"/>
                <a:gd name="T9" fmla="*/ 13 h 72"/>
                <a:gd name="T10" fmla="*/ 40 w 61"/>
                <a:gd name="T11" fmla="*/ 55 h 72"/>
              </a:gdLst>
              <a:ahLst/>
              <a:cxnLst>
                <a:cxn ang="0">
                  <a:pos x="T0" y="T1"/>
                </a:cxn>
                <a:cxn ang="0">
                  <a:pos x="T2" y="T3"/>
                </a:cxn>
                <a:cxn ang="0">
                  <a:pos x="T4" y="T5"/>
                </a:cxn>
                <a:cxn ang="0">
                  <a:pos x="T6" y="T7"/>
                </a:cxn>
                <a:cxn ang="0">
                  <a:pos x="T8" y="T9"/>
                </a:cxn>
                <a:cxn ang="0">
                  <a:pos x="T10" y="T11"/>
                </a:cxn>
              </a:cxnLst>
              <a:rect l="0" t="0" r="r" b="b"/>
              <a:pathLst>
                <a:path w="61" h="72">
                  <a:moveTo>
                    <a:pt x="40" y="55"/>
                  </a:moveTo>
                  <a:cubicBezTo>
                    <a:pt x="0" y="72"/>
                    <a:pt x="0" y="72"/>
                    <a:pt x="0" y="72"/>
                  </a:cubicBezTo>
                  <a:cubicBezTo>
                    <a:pt x="6" y="29"/>
                    <a:pt x="6" y="29"/>
                    <a:pt x="6" y="29"/>
                  </a:cubicBezTo>
                  <a:cubicBezTo>
                    <a:pt x="8" y="10"/>
                    <a:pt x="30" y="0"/>
                    <a:pt x="45" y="12"/>
                  </a:cubicBezTo>
                  <a:cubicBezTo>
                    <a:pt x="46" y="13"/>
                    <a:pt x="46" y="13"/>
                    <a:pt x="46" y="13"/>
                  </a:cubicBezTo>
                  <a:cubicBezTo>
                    <a:pt x="61" y="24"/>
                    <a:pt x="58" y="48"/>
                    <a:pt x="40" y="55"/>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188"/>
            <p:cNvSpPr>
              <a:spLocks/>
            </p:cNvSpPr>
            <p:nvPr userDrawn="1"/>
          </p:nvSpPr>
          <p:spPr bwMode="auto">
            <a:xfrm>
              <a:off x="8018464" y="4324985"/>
              <a:ext cx="58738" cy="63500"/>
            </a:xfrm>
            <a:custGeom>
              <a:avLst/>
              <a:gdLst>
                <a:gd name="T0" fmla="*/ 30 w 39"/>
                <a:gd name="T1" fmla="*/ 29 h 43"/>
                <a:gd name="T2" fmla="*/ 31 w 39"/>
                <a:gd name="T3" fmla="*/ 27 h 43"/>
                <a:gd name="T4" fmla="*/ 34 w 39"/>
                <a:gd name="T5" fmla="*/ 23 h 43"/>
                <a:gd name="T6" fmla="*/ 32 w 39"/>
                <a:gd name="T7" fmla="*/ 5 h 43"/>
                <a:gd name="T8" fmla="*/ 31 w 39"/>
                <a:gd name="T9" fmla="*/ 4 h 43"/>
                <a:gd name="T10" fmla="*/ 13 w 39"/>
                <a:gd name="T11" fmla="*/ 7 h 43"/>
                <a:gd name="T12" fmla="*/ 10 w 39"/>
                <a:gd name="T13" fmla="*/ 11 h 43"/>
                <a:gd name="T14" fmla="*/ 8 w 39"/>
                <a:gd name="T15" fmla="*/ 12 h 43"/>
                <a:gd name="T16" fmla="*/ 8 w 39"/>
                <a:gd name="T17" fmla="*/ 14 h 43"/>
                <a:gd name="T18" fmla="*/ 1 w 39"/>
                <a:gd name="T19" fmla="*/ 23 h 43"/>
                <a:gd name="T20" fmla="*/ 1 w 39"/>
                <a:gd name="T21" fmla="*/ 23 h 43"/>
                <a:gd name="T22" fmla="*/ 7 w 39"/>
                <a:gd name="T23" fmla="*/ 26 h 43"/>
                <a:gd name="T24" fmla="*/ 8 w 39"/>
                <a:gd name="T25" fmla="*/ 26 h 43"/>
                <a:gd name="T26" fmla="*/ 5 w 39"/>
                <a:gd name="T27" fmla="*/ 29 h 43"/>
                <a:gd name="T28" fmla="*/ 3 w 39"/>
                <a:gd name="T29" fmla="*/ 27 h 43"/>
                <a:gd name="T30" fmla="*/ 5 w 39"/>
                <a:gd name="T31" fmla="*/ 40 h 43"/>
                <a:gd name="T32" fmla="*/ 17 w 39"/>
                <a:gd name="T33" fmla="*/ 38 h 43"/>
                <a:gd name="T34" fmla="*/ 15 w 39"/>
                <a:gd name="T35" fmla="*/ 36 h 43"/>
                <a:gd name="T36" fmla="*/ 17 w 39"/>
                <a:gd name="T37" fmla="*/ 33 h 43"/>
                <a:gd name="T38" fmla="*/ 18 w 39"/>
                <a:gd name="T39" fmla="*/ 33 h 43"/>
                <a:gd name="T40" fmla="*/ 22 w 39"/>
                <a:gd name="T41" fmla="*/ 39 h 43"/>
                <a:gd name="T42" fmla="*/ 22 w 39"/>
                <a:gd name="T43" fmla="*/ 39 h 43"/>
                <a:gd name="T44" fmla="*/ 29 w 39"/>
                <a:gd name="T45" fmla="*/ 30 h 43"/>
                <a:gd name="T46" fmla="*/ 30 w 39"/>
                <a:gd name="T4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43">
                  <a:moveTo>
                    <a:pt x="30" y="29"/>
                  </a:moveTo>
                  <a:cubicBezTo>
                    <a:pt x="31" y="29"/>
                    <a:pt x="31" y="28"/>
                    <a:pt x="31" y="27"/>
                  </a:cubicBezTo>
                  <a:cubicBezTo>
                    <a:pt x="34" y="23"/>
                    <a:pt x="34" y="23"/>
                    <a:pt x="34" y="23"/>
                  </a:cubicBezTo>
                  <a:cubicBezTo>
                    <a:pt x="39" y="17"/>
                    <a:pt x="37" y="9"/>
                    <a:pt x="32" y="5"/>
                  </a:cubicBezTo>
                  <a:cubicBezTo>
                    <a:pt x="31" y="4"/>
                    <a:pt x="31" y="4"/>
                    <a:pt x="31" y="4"/>
                  </a:cubicBezTo>
                  <a:cubicBezTo>
                    <a:pt x="26" y="0"/>
                    <a:pt x="17" y="1"/>
                    <a:pt x="13" y="7"/>
                  </a:cubicBezTo>
                  <a:cubicBezTo>
                    <a:pt x="10" y="11"/>
                    <a:pt x="10" y="11"/>
                    <a:pt x="10" y="11"/>
                  </a:cubicBezTo>
                  <a:cubicBezTo>
                    <a:pt x="9" y="11"/>
                    <a:pt x="8" y="12"/>
                    <a:pt x="8" y="12"/>
                  </a:cubicBezTo>
                  <a:cubicBezTo>
                    <a:pt x="8" y="13"/>
                    <a:pt x="7" y="13"/>
                    <a:pt x="8" y="14"/>
                  </a:cubicBezTo>
                  <a:cubicBezTo>
                    <a:pt x="1" y="23"/>
                    <a:pt x="1" y="23"/>
                    <a:pt x="1" y="23"/>
                  </a:cubicBezTo>
                  <a:cubicBezTo>
                    <a:pt x="1" y="23"/>
                    <a:pt x="1" y="23"/>
                    <a:pt x="1" y="23"/>
                  </a:cubicBezTo>
                  <a:cubicBezTo>
                    <a:pt x="3" y="24"/>
                    <a:pt x="5" y="25"/>
                    <a:pt x="7" y="26"/>
                  </a:cubicBezTo>
                  <a:cubicBezTo>
                    <a:pt x="8" y="26"/>
                    <a:pt x="8" y="26"/>
                    <a:pt x="8" y="26"/>
                  </a:cubicBezTo>
                  <a:cubicBezTo>
                    <a:pt x="5" y="29"/>
                    <a:pt x="5" y="29"/>
                    <a:pt x="5" y="29"/>
                  </a:cubicBezTo>
                  <a:cubicBezTo>
                    <a:pt x="3" y="27"/>
                    <a:pt x="3" y="27"/>
                    <a:pt x="3" y="27"/>
                  </a:cubicBezTo>
                  <a:cubicBezTo>
                    <a:pt x="0" y="31"/>
                    <a:pt x="1" y="37"/>
                    <a:pt x="5" y="40"/>
                  </a:cubicBezTo>
                  <a:cubicBezTo>
                    <a:pt x="8" y="43"/>
                    <a:pt x="14" y="42"/>
                    <a:pt x="17" y="38"/>
                  </a:cubicBezTo>
                  <a:cubicBezTo>
                    <a:pt x="15" y="36"/>
                    <a:pt x="15" y="36"/>
                    <a:pt x="15" y="36"/>
                  </a:cubicBezTo>
                  <a:cubicBezTo>
                    <a:pt x="17" y="33"/>
                    <a:pt x="17" y="33"/>
                    <a:pt x="17" y="33"/>
                  </a:cubicBezTo>
                  <a:cubicBezTo>
                    <a:pt x="18" y="33"/>
                    <a:pt x="18" y="33"/>
                    <a:pt x="18" y="33"/>
                  </a:cubicBezTo>
                  <a:cubicBezTo>
                    <a:pt x="18" y="35"/>
                    <a:pt x="20" y="37"/>
                    <a:pt x="22" y="39"/>
                  </a:cubicBezTo>
                  <a:cubicBezTo>
                    <a:pt x="22" y="39"/>
                    <a:pt x="22" y="39"/>
                    <a:pt x="22" y="39"/>
                  </a:cubicBezTo>
                  <a:cubicBezTo>
                    <a:pt x="29" y="30"/>
                    <a:pt x="29" y="30"/>
                    <a:pt x="29" y="30"/>
                  </a:cubicBezTo>
                  <a:cubicBezTo>
                    <a:pt x="29" y="30"/>
                    <a:pt x="30" y="30"/>
                    <a:pt x="30"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189"/>
            <p:cNvSpPr>
              <a:spLocks/>
            </p:cNvSpPr>
            <p:nvPr userDrawn="1"/>
          </p:nvSpPr>
          <p:spPr bwMode="auto">
            <a:xfrm>
              <a:off x="8081964" y="4175760"/>
              <a:ext cx="106363" cy="84138"/>
            </a:xfrm>
            <a:custGeom>
              <a:avLst/>
              <a:gdLst>
                <a:gd name="T0" fmla="*/ 64 w 67"/>
                <a:gd name="T1" fmla="*/ 53 h 53"/>
                <a:gd name="T2" fmla="*/ 0 w 67"/>
                <a:gd name="T3" fmla="*/ 4 h 53"/>
                <a:gd name="T4" fmla="*/ 3 w 67"/>
                <a:gd name="T5" fmla="*/ 0 h 53"/>
                <a:gd name="T6" fmla="*/ 67 w 67"/>
                <a:gd name="T7" fmla="*/ 49 h 53"/>
                <a:gd name="T8" fmla="*/ 64 w 67"/>
                <a:gd name="T9" fmla="*/ 53 h 53"/>
              </a:gdLst>
              <a:ahLst/>
              <a:cxnLst>
                <a:cxn ang="0">
                  <a:pos x="T0" y="T1"/>
                </a:cxn>
                <a:cxn ang="0">
                  <a:pos x="T2" y="T3"/>
                </a:cxn>
                <a:cxn ang="0">
                  <a:pos x="T4" y="T5"/>
                </a:cxn>
                <a:cxn ang="0">
                  <a:pos x="T6" y="T7"/>
                </a:cxn>
                <a:cxn ang="0">
                  <a:pos x="T8" y="T9"/>
                </a:cxn>
              </a:cxnLst>
              <a:rect l="0" t="0" r="r" b="b"/>
              <a:pathLst>
                <a:path w="67" h="53">
                  <a:moveTo>
                    <a:pt x="64" y="53"/>
                  </a:moveTo>
                  <a:lnTo>
                    <a:pt x="0" y="4"/>
                  </a:lnTo>
                  <a:lnTo>
                    <a:pt x="3" y="0"/>
                  </a:lnTo>
                  <a:lnTo>
                    <a:pt x="67" y="49"/>
                  </a:lnTo>
                  <a:lnTo>
                    <a:pt x="64"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190"/>
            <p:cNvSpPr>
              <a:spLocks/>
            </p:cNvSpPr>
            <p:nvPr userDrawn="1"/>
          </p:nvSpPr>
          <p:spPr bwMode="auto">
            <a:xfrm>
              <a:off x="8018464" y="4128135"/>
              <a:ext cx="25400" cy="22225"/>
            </a:xfrm>
            <a:custGeom>
              <a:avLst/>
              <a:gdLst>
                <a:gd name="T0" fmla="*/ 13 w 16"/>
                <a:gd name="T1" fmla="*/ 14 h 14"/>
                <a:gd name="T2" fmla="*/ 0 w 16"/>
                <a:gd name="T3" fmla="*/ 4 h 14"/>
                <a:gd name="T4" fmla="*/ 3 w 16"/>
                <a:gd name="T5" fmla="*/ 0 h 14"/>
                <a:gd name="T6" fmla="*/ 16 w 16"/>
                <a:gd name="T7" fmla="*/ 10 h 14"/>
                <a:gd name="T8" fmla="*/ 13 w 16"/>
                <a:gd name="T9" fmla="*/ 14 h 14"/>
              </a:gdLst>
              <a:ahLst/>
              <a:cxnLst>
                <a:cxn ang="0">
                  <a:pos x="T0" y="T1"/>
                </a:cxn>
                <a:cxn ang="0">
                  <a:pos x="T2" y="T3"/>
                </a:cxn>
                <a:cxn ang="0">
                  <a:pos x="T4" y="T5"/>
                </a:cxn>
                <a:cxn ang="0">
                  <a:pos x="T6" y="T7"/>
                </a:cxn>
                <a:cxn ang="0">
                  <a:pos x="T8" y="T9"/>
                </a:cxn>
              </a:cxnLst>
              <a:rect l="0" t="0" r="r" b="b"/>
              <a:pathLst>
                <a:path w="16" h="14">
                  <a:moveTo>
                    <a:pt x="13" y="14"/>
                  </a:moveTo>
                  <a:lnTo>
                    <a:pt x="0" y="4"/>
                  </a:lnTo>
                  <a:lnTo>
                    <a:pt x="3" y="0"/>
                  </a:lnTo>
                  <a:lnTo>
                    <a:pt x="16" y="10"/>
                  </a:lnTo>
                  <a:lnTo>
                    <a:pt x="13"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191"/>
            <p:cNvSpPr>
              <a:spLocks/>
            </p:cNvSpPr>
            <p:nvPr userDrawn="1"/>
          </p:nvSpPr>
          <p:spPr bwMode="auto">
            <a:xfrm>
              <a:off x="8050214" y="4151948"/>
              <a:ext cx="25400" cy="22225"/>
            </a:xfrm>
            <a:custGeom>
              <a:avLst/>
              <a:gdLst>
                <a:gd name="T0" fmla="*/ 13 w 16"/>
                <a:gd name="T1" fmla="*/ 14 h 14"/>
                <a:gd name="T2" fmla="*/ 0 w 16"/>
                <a:gd name="T3" fmla="*/ 4 h 14"/>
                <a:gd name="T4" fmla="*/ 3 w 16"/>
                <a:gd name="T5" fmla="*/ 0 h 14"/>
                <a:gd name="T6" fmla="*/ 16 w 16"/>
                <a:gd name="T7" fmla="*/ 10 h 14"/>
                <a:gd name="T8" fmla="*/ 13 w 16"/>
                <a:gd name="T9" fmla="*/ 14 h 14"/>
              </a:gdLst>
              <a:ahLst/>
              <a:cxnLst>
                <a:cxn ang="0">
                  <a:pos x="T0" y="T1"/>
                </a:cxn>
                <a:cxn ang="0">
                  <a:pos x="T2" y="T3"/>
                </a:cxn>
                <a:cxn ang="0">
                  <a:pos x="T4" y="T5"/>
                </a:cxn>
                <a:cxn ang="0">
                  <a:pos x="T6" y="T7"/>
                </a:cxn>
                <a:cxn ang="0">
                  <a:pos x="T8" y="T9"/>
                </a:cxn>
              </a:cxnLst>
              <a:rect l="0" t="0" r="r" b="b"/>
              <a:pathLst>
                <a:path w="16" h="14">
                  <a:moveTo>
                    <a:pt x="13" y="14"/>
                  </a:moveTo>
                  <a:lnTo>
                    <a:pt x="0" y="4"/>
                  </a:lnTo>
                  <a:lnTo>
                    <a:pt x="3" y="0"/>
                  </a:lnTo>
                  <a:lnTo>
                    <a:pt x="16" y="10"/>
                  </a:lnTo>
                  <a:lnTo>
                    <a:pt x="13"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Freeform 192"/>
            <p:cNvSpPr>
              <a:spLocks/>
            </p:cNvSpPr>
            <p:nvPr userDrawn="1"/>
          </p:nvSpPr>
          <p:spPr bwMode="auto">
            <a:xfrm>
              <a:off x="7904164" y="4302760"/>
              <a:ext cx="60325" cy="66675"/>
            </a:xfrm>
            <a:custGeom>
              <a:avLst/>
              <a:gdLst>
                <a:gd name="T0" fmla="*/ 31 w 40"/>
                <a:gd name="T1" fmla="*/ 33 h 45"/>
                <a:gd name="T2" fmla="*/ 31 w 40"/>
                <a:gd name="T3" fmla="*/ 31 h 45"/>
                <a:gd name="T4" fmla="*/ 35 w 40"/>
                <a:gd name="T5" fmla="*/ 26 h 45"/>
                <a:gd name="T6" fmla="*/ 32 w 40"/>
                <a:gd name="T7" fmla="*/ 5 h 45"/>
                <a:gd name="T8" fmla="*/ 32 w 40"/>
                <a:gd name="T9" fmla="*/ 5 h 45"/>
                <a:gd name="T10" fmla="*/ 12 w 40"/>
                <a:gd name="T11" fmla="*/ 8 h 45"/>
                <a:gd name="T12" fmla="*/ 8 w 40"/>
                <a:gd name="T13" fmla="*/ 13 h 45"/>
                <a:gd name="T14" fmla="*/ 6 w 40"/>
                <a:gd name="T15" fmla="*/ 14 h 45"/>
                <a:gd name="T16" fmla="*/ 7 w 40"/>
                <a:gd name="T17" fmla="*/ 18 h 45"/>
                <a:gd name="T18" fmla="*/ 6 w 40"/>
                <a:gd name="T19" fmla="*/ 18 h 45"/>
                <a:gd name="T20" fmla="*/ 4 w 40"/>
                <a:gd name="T21" fmla="*/ 30 h 45"/>
                <a:gd name="T22" fmla="*/ 2 w 40"/>
                <a:gd name="T23" fmla="*/ 32 h 45"/>
                <a:gd name="T24" fmla="*/ 4 w 40"/>
                <a:gd name="T25" fmla="*/ 43 h 45"/>
                <a:gd name="T26" fmla="*/ 4 w 40"/>
                <a:gd name="T27" fmla="*/ 43 h 45"/>
                <a:gd name="T28" fmla="*/ 15 w 40"/>
                <a:gd name="T29" fmla="*/ 41 h 45"/>
                <a:gd name="T30" fmla="*/ 16 w 40"/>
                <a:gd name="T31" fmla="*/ 39 h 45"/>
                <a:gd name="T32" fmla="*/ 27 w 40"/>
                <a:gd name="T33" fmla="*/ 34 h 45"/>
                <a:gd name="T34" fmla="*/ 27 w 40"/>
                <a:gd name="T35" fmla="*/ 33 h 45"/>
                <a:gd name="T36" fmla="*/ 31 w 40"/>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45">
                  <a:moveTo>
                    <a:pt x="31" y="33"/>
                  </a:moveTo>
                  <a:cubicBezTo>
                    <a:pt x="31" y="32"/>
                    <a:pt x="32" y="31"/>
                    <a:pt x="31" y="31"/>
                  </a:cubicBezTo>
                  <a:cubicBezTo>
                    <a:pt x="35" y="26"/>
                    <a:pt x="35" y="26"/>
                    <a:pt x="35" y="26"/>
                  </a:cubicBezTo>
                  <a:cubicBezTo>
                    <a:pt x="40" y="19"/>
                    <a:pt x="39" y="10"/>
                    <a:pt x="32" y="5"/>
                  </a:cubicBezTo>
                  <a:cubicBezTo>
                    <a:pt x="32" y="5"/>
                    <a:pt x="32" y="5"/>
                    <a:pt x="32" y="5"/>
                  </a:cubicBezTo>
                  <a:cubicBezTo>
                    <a:pt x="26" y="0"/>
                    <a:pt x="17" y="2"/>
                    <a:pt x="12" y="8"/>
                  </a:cubicBezTo>
                  <a:cubicBezTo>
                    <a:pt x="8" y="13"/>
                    <a:pt x="8" y="13"/>
                    <a:pt x="8" y="13"/>
                  </a:cubicBezTo>
                  <a:cubicBezTo>
                    <a:pt x="7" y="13"/>
                    <a:pt x="7" y="13"/>
                    <a:pt x="6" y="14"/>
                  </a:cubicBezTo>
                  <a:cubicBezTo>
                    <a:pt x="5" y="15"/>
                    <a:pt x="6" y="17"/>
                    <a:pt x="7" y="18"/>
                  </a:cubicBezTo>
                  <a:cubicBezTo>
                    <a:pt x="6" y="18"/>
                    <a:pt x="6" y="18"/>
                    <a:pt x="6" y="18"/>
                  </a:cubicBezTo>
                  <a:cubicBezTo>
                    <a:pt x="4" y="21"/>
                    <a:pt x="3" y="26"/>
                    <a:pt x="4" y="30"/>
                  </a:cubicBezTo>
                  <a:cubicBezTo>
                    <a:pt x="2" y="32"/>
                    <a:pt x="2" y="32"/>
                    <a:pt x="2" y="32"/>
                  </a:cubicBezTo>
                  <a:cubicBezTo>
                    <a:pt x="0" y="35"/>
                    <a:pt x="0" y="40"/>
                    <a:pt x="4" y="43"/>
                  </a:cubicBezTo>
                  <a:cubicBezTo>
                    <a:pt x="4" y="43"/>
                    <a:pt x="4" y="43"/>
                    <a:pt x="4" y="43"/>
                  </a:cubicBezTo>
                  <a:cubicBezTo>
                    <a:pt x="7" y="45"/>
                    <a:pt x="12" y="45"/>
                    <a:pt x="15" y="41"/>
                  </a:cubicBezTo>
                  <a:cubicBezTo>
                    <a:pt x="16" y="39"/>
                    <a:pt x="16" y="39"/>
                    <a:pt x="16" y="39"/>
                  </a:cubicBezTo>
                  <a:cubicBezTo>
                    <a:pt x="20" y="39"/>
                    <a:pt x="24" y="37"/>
                    <a:pt x="27" y="34"/>
                  </a:cubicBezTo>
                  <a:cubicBezTo>
                    <a:pt x="27" y="33"/>
                    <a:pt x="27" y="33"/>
                    <a:pt x="27" y="33"/>
                  </a:cubicBezTo>
                  <a:cubicBezTo>
                    <a:pt x="28" y="34"/>
                    <a:pt x="30" y="34"/>
                    <a:pt x="31"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Freeform 193"/>
            <p:cNvSpPr>
              <a:spLocks/>
            </p:cNvSpPr>
            <p:nvPr userDrawn="1"/>
          </p:nvSpPr>
          <p:spPr bwMode="auto">
            <a:xfrm>
              <a:off x="7773989" y="4212273"/>
              <a:ext cx="379413" cy="277813"/>
            </a:xfrm>
            <a:custGeom>
              <a:avLst/>
              <a:gdLst>
                <a:gd name="T0" fmla="*/ 246 w 254"/>
                <a:gd name="T1" fmla="*/ 131 h 187"/>
                <a:gd name="T2" fmla="*/ 232 w 254"/>
                <a:gd name="T3" fmla="*/ 124 h 187"/>
                <a:gd name="T4" fmla="*/ 212 w 254"/>
                <a:gd name="T5" fmla="*/ 110 h 187"/>
                <a:gd name="T6" fmla="*/ 238 w 254"/>
                <a:gd name="T7" fmla="*/ 108 h 187"/>
                <a:gd name="T8" fmla="*/ 246 w 254"/>
                <a:gd name="T9" fmla="*/ 88 h 187"/>
                <a:gd name="T10" fmla="*/ 188 w 254"/>
                <a:gd name="T11" fmla="*/ 90 h 187"/>
                <a:gd name="T12" fmla="*/ 184 w 254"/>
                <a:gd name="T13" fmla="*/ 92 h 187"/>
                <a:gd name="T14" fmla="*/ 184 w 254"/>
                <a:gd name="T15" fmla="*/ 91 h 187"/>
                <a:gd name="T16" fmla="*/ 81 w 254"/>
                <a:gd name="T17" fmla="*/ 0 h 187"/>
                <a:gd name="T18" fmla="*/ 3 w 254"/>
                <a:gd name="T19" fmla="*/ 0 h 187"/>
                <a:gd name="T20" fmla="*/ 2 w 254"/>
                <a:gd name="T21" fmla="*/ 2 h 187"/>
                <a:gd name="T22" fmla="*/ 23 w 254"/>
                <a:gd name="T23" fmla="*/ 53 h 187"/>
                <a:gd name="T24" fmla="*/ 149 w 254"/>
                <a:gd name="T25" fmla="*/ 136 h 187"/>
                <a:gd name="T26" fmla="*/ 185 w 254"/>
                <a:gd name="T27" fmla="*/ 174 h 187"/>
                <a:gd name="T28" fmla="*/ 205 w 254"/>
                <a:gd name="T29" fmla="*/ 184 h 187"/>
                <a:gd name="T30" fmla="*/ 219 w 254"/>
                <a:gd name="T31" fmla="*/ 180 h 187"/>
                <a:gd name="T32" fmla="*/ 220 w 254"/>
                <a:gd name="T33" fmla="*/ 174 h 187"/>
                <a:gd name="T34" fmla="*/ 232 w 254"/>
                <a:gd name="T35" fmla="*/ 170 h 187"/>
                <a:gd name="T36" fmla="*/ 233 w 254"/>
                <a:gd name="T37" fmla="*/ 164 h 187"/>
                <a:gd name="T38" fmla="*/ 233 w 254"/>
                <a:gd name="T39" fmla="*/ 164 h 187"/>
                <a:gd name="T40" fmla="*/ 247 w 254"/>
                <a:gd name="T41" fmla="*/ 159 h 187"/>
                <a:gd name="T42" fmla="*/ 246 w 254"/>
                <a:gd name="T43" fmla="*/ 149 h 187"/>
                <a:gd name="T44" fmla="*/ 250 w 254"/>
                <a:gd name="T45" fmla="*/ 144 h 187"/>
                <a:gd name="T46" fmla="*/ 246 w 254"/>
                <a:gd name="T47" fmla="*/ 13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4" h="187">
                  <a:moveTo>
                    <a:pt x="246" y="131"/>
                  </a:moveTo>
                  <a:cubicBezTo>
                    <a:pt x="232" y="124"/>
                    <a:pt x="232" y="124"/>
                    <a:pt x="232" y="124"/>
                  </a:cubicBezTo>
                  <a:cubicBezTo>
                    <a:pt x="212" y="110"/>
                    <a:pt x="212" y="110"/>
                    <a:pt x="212" y="110"/>
                  </a:cubicBezTo>
                  <a:cubicBezTo>
                    <a:pt x="238" y="108"/>
                    <a:pt x="238" y="108"/>
                    <a:pt x="238" y="108"/>
                  </a:cubicBezTo>
                  <a:cubicBezTo>
                    <a:pt x="238" y="108"/>
                    <a:pt x="254" y="100"/>
                    <a:pt x="246" y="88"/>
                  </a:cubicBezTo>
                  <a:cubicBezTo>
                    <a:pt x="201" y="93"/>
                    <a:pt x="203" y="87"/>
                    <a:pt x="188" y="90"/>
                  </a:cubicBezTo>
                  <a:cubicBezTo>
                    <a:pt x="186" y="91"/>
                    <a:pt x="185" y="91"/>
                    <a:pt x="184" y="92"/>
                  </a:cubicBezTo>
                  <a:cubicBezTo>
                    <a:pt x="184" y="91"/>
                    <a:pt x="184" y="91"/>
                    <a:pt x="184" y="91"/>
                  </a:cubicBezTo>
                  <a:cubicBezTo>
                    <a:pt x="81" y="0"/>
                    <a:pt x="81" y="0"/>
                    <a:pt x="81" y="0"/>
                  </a:cubicBezTo>
                  <a:cubicBezTo>
                    <a:pt x="3" y="0"/>
                    <a:pt x="3" y="0"/>
                    <a:pt x="3" y="0"/>
                  </a:cubicBezTo>
                  <a:cubicBezTo>
                    <a:pt x="2" y="1"/>
                    <a:pt x="2" y="1"/>
                    <a:pt x="2" y="2"/>
                  </a:cubicBezTo>
                  <a:cubicBezTo>
                    <a:pt x="0" y="21"/>
                    <a:pt x="8" y="40"/>
                    <a:pt x="23" y="53"/>
                  </a:cubicBezTo>
                  <a:cubicBezTo>
                    <a:pt x="149" y="136"/>
                    <a:pt x="149" y="136"/>
                    <a:pt x="149" y="136"/>
                  </a:cubicBezTo>
                  <a:cubicBezTo>
                    <a:pt x="185" y="174"/>
                    <a:pt x="185" y="174"/>
                    <a:pt x="185" y="174"/>
                  </a:cubicBezTo>
                  <a:cubicBezTo>
                    <a:pt x="205" y="184"/>
                    <a:pt x="205" y="184"/>
                    <a:pt x="205" y="184"/>
                  </a:cubicBezTo>
                  <a:cubicBezTo>
                    <a:pt x="210" y="187"/>
                    <a:pt x="216" y="185"/>
                    <a:pt x="219" y="180"/>
                  </a:cubicBezTo>
                  <a:cubicBezTo>
                    <a:pt x="220" y="178"/>
                    <a:pt x="220" y="176"/>
                    <a:pt x="220" y="174"/>
                  </a:cubicBezTo>
                  <a:cubicBezTo>
                    <a:pt x="225" y="176"/>
                    <a:pt x="230" y="174"/>
                    <a:pt x="232" y="170"/>
                  </a:cubicBezTo>
                  <a:cubicBezTo>
                    <a:pt x="233" y="168"/>
                    <a:pt x="233" y="166"/>
                    <a:pt x="233" y="164"/>
                  </a:cubicBezTo>
                  <a:cubicBezTo>
                    <a:pt x="233" y="164"/>
                    <a:pt x="233" y="164"/>
                    <a:pt x="233" y="164"/>
                  </a:cubicBezTo>
                  <a:cubicBezTo>
                    <a:pt x="238" y="166"/>
                    <a:pt x="244" y="164"/>
                    <a:pt x="247" y="159"/>
                  </a:cubicBezTo>
                  <a:cubicBezTo>
                    <a:pt x="249" y="156"/>
                    <a:pt x="248" y="152"/>
                    <a:pt x="246" y="149"/>
                  </a:cubicBezTo>
                  <a:cubicBezTo>
                    <a:pt x="248" y="148"/>
                    <a:pt x="249" y="146"/>
                    <a:pt x="250" y="144"/>
                  </a:cubicBezTo>
                  <a:cubicBezTo>
                    <a:pt x="253" y="139"/>
                    <a:pt x="251" y="133"/>
                    <a:pt x="246" y="131"/>
                  </a:cubicBez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Freeform 194"/>
            <p:cNvSpPr>
              <a:spLocks/>
            </p:cNvSpPr>
            <p:nvPr userDrawn="1"/>
          </p:nvSpPr>
          <p:spPr bwMode="auto">
            <a:xfrm>
              <a:off x="7773989" y="4212273"/>
              <a:ext cx="328613" cy="277813"/>
            </a:xfrm>
            <a:custGeom>
              <a:avLst/>
              <a:gdLst>
                <a:gd name="T0" fmla="*/ 158 w 220"/>
                <a:gd name="T1" fmla="*/ 124 h 187"/>
                <a:gd name="T2" fmla="*/ 46 w 220"/>
                <a:gd name="T3" fmla="*/ 48 h 187"/>
                <a:gd name="T4" fmla="*/ 24 w 220"/>
                <a:gd name="T5" fmla="*/ 0 h 187"/>
                <a:gd name="T6" fmla="*/ 3 w 220"/>
                <a:gd name="T7" fmla="*/ 0 h 187"/>
                <a:gd name="T8" fmla="*/ 2 w 220"/>
                <a:gd name="T9" fmla="*/ 2 h 187"/>
                <a:gd name="T10" fmla="*/ 23 w 220"/>
                <a:gd name="T11" fmla="*/ 53 h 187"/>
                <a:gd name="T12" fmla="*/ 149 w 220"/>
                <a:gd name="T13" fmla="*/ 136 h 187"/>
                <a:gd name="T14" fmla="*/ 185 w 220"/>
                <a:gd name="T15" fmla="*/ 174 h 187"/>
                <a:gd name="T16" fmla="*/ 205 w 220"/>
                <a:gd name="T17" fmla="*/ 184 h 187"/>
                <a:gd name="T18" fmla="*/ 219 w 220"/>
                <a:gd name="T19" fmla="*/ 180 h 187"/>
                <a:gd name="T20" fmla="*/ 220 w 220"/>
                <a:gd name="T21" fmla="*/ 174 h 187"/>
                <a:gd name="T22" fmla="*/ 158 w 220"/>
                <a:gd name="T23" fmla="*/ 12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87">
                  <a:moveTo>
                    <a:pt x="158" y="124"/>
                  </a:moveTo>
                  <a:cubicBezTo>
                    <a:pt x="113" y="94"/>
                    <a:pt x="62" y="60"/>
                    <a:pt x="46" y="48"/>
                  </a:cubicBezTo>
                  <a:cubicBezTo>
                    <a:pt x="19" y="28"/>
                    <a:pt x="24" y="0"/>
                    <a:pt x="24" y="0"/>
                  </a:cubicBezTo>
                  <a:cubicBezTo>
                    <a:pt x="3" y="0"/>
                    <a:pt x="3" y="0"/>
                    <a:pt x="3" y="0"/>
                  </a:cubicBezTo>
                  <a:cubicBezTo>
                    <a:pt x="2" y="1"/>
                    <a:pt x="2" y="1"/>
                    <a:pt x="2" y="2"/>
                  </a:cubicBezTo>
                  <a:cubicBezTo>
                    <a:pt x="0" y="21"/>
                    <a:pt x="8" y="40"/>
                    <a:pt x="23" y="53"/>
                  </a:cubicBezTo>
                  <a:cubicBezTo>
                    <a:pt x="149" y="136"/>
                    <a:pt x="149" y="136"/>
                    <a:pt x="149" y="136"/>
                  </a:cubicBezTo>
                  <a:cubicBezTo>
                    <a:pt x="185" y="174"/>
                    <a:pt x="185" y="174"/>
                    <a:pt x="185" y="174"/>
                  </a:cubicBezTo>
                  <a:cubicBezTo>
                    <a:pt x="205" y="184"/>
                    <a:pt x="205" y="184"/>
                    <a:pt x="205" y="184"/>
                  </a:cubicBezTo>
                  <a:cubicBezTo>
                    <a:pt x="210" y="187"/>
                    <a:pt x="216" y="185"/>
                    <a:pt x="219" y="180"/>
                  </a:cubicBezTo>
                  <a:cubicBezTo>
                    <a:pt x="220" y="178"/>
                    <a:pt x="220" y="176"/>
                    <a:pt x="220" y="174"/>
                  </a:cubicBezTo>
                  <a:lnTo>
                    <a:pt x="158" y="124"/>
                  </a:lnTo>
                  <a:close/>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Freeform 195"/>
            <p:cNvSpPr>
              <a:spLocks/>
            </p:cNvSpPr>
            <p:nvPr userDrawn="1"/>
          </p:nvSpPr>
          <p:spPr bwMode="auto">
            <a:xfrm>
              <a:off x="8447089" y="3956685"/>
              <a:ext cx="96838" cy="77788"/>
            </a:xfrm>
            <a:custGeom>
              <a:avLst/>
              <a:gdLst>
                <a:gd name="T0" fmla="*/ 14 w 65"/>
                <a:gd name="T1" fmla="*/ 0 h 53"/>
                <a:gd name="T2" fmla="*/ 4 w 65"/>
                <a:gd name="T3" fmla="*/ 16 h 53"/>
                <a:gd name="T4" fmla="*/ 5 w 65"/>
                <a:gd name="T5" fmla="*/ 30 h 53"/>
                <a:gd name="T6" fmla="*/ 11 w 65"/>
                <a:gd name="T7" fmla="*/ 33 h 53"/>
                <a:gd name="T8" fmla="*/ 15 w 65"/>
                <a:gd name="T9" fmla="*/ 43 h 53"/>
                <a:gd name="T10" fmla="*/ 29 w 65"/>
                <a:gd name="T11" fmla="*/ 41 h 53"/>
                <a:gd name="T12" fmla="*/ 29 w 65"/>
                <a:gd name="T13" fmla="*/ 41 h 53"/>
                <a:gd name="T14" fmla="*/ 32 w 65"/>
                <a:gd name="T15" fmla="*/ 46 h 53"/>
                <a:gd name="T16" fmla="*/ 46 w 65"/>
                <a:gd name="T17" fmla="*/ 45 h 53"/>
                <a:gd name="T18" fmla="*/ 49 w 65"/>
                <a:gd name="T19" fmla="*/ 50 h 53"/>
                <a:gd name="T20" fmla="*/ 62 w 65"/>
                <a:gd name="T21" fmla="*/ 48 h 53"/>
                <a:gd name="T22" fmla="*/ 65 w 65"/>
                <a:gd name="T23" fmla="*/ 43 h 53"/>
                <a:gd name="T24" fmla="*/ 14 w 65"/>
                <a:gd name="T2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53">
                  <a:moveTo>
                    <a:pt x="14" y="0"/>
                  </a:moveTo>
                  <a:cubicBezTo>
                    <a:pt x="4" y="16"/>
                    <a:pt x="4" y="16"/>
                    <a:pt x="4" y="16"/>
                  </a:cubicBezTo>
                  <a:cubicBezTo>
                    <a:pt x="0" y="20"/>
                    <a:pt x="1" y="27"/>
                    <a:pt x="5" y="30"/>
                  </a:cubicBezTo>
                  <a:cubicBezTo>
                    <a:pt x="7" y="32"/>
                    <a:pt x="9" y="33"/>
                    <a:pt x="11" y="33"/>
                  </a:cubicBezTo>
                  <a:cubicBezTo>
                    <a:pt x="11" y="36"/>
                    <a:pt x="12" y="40"/>
                    <a:pt x="15" y="43"/>
                  </a:cubicBezTo>
                  <a:cubicBezTo>
                    <a:pt x="19" y="46"/>
                    <a:pt x="25" y="45"/>
                    <a:pt x="29" y="41"/>
                  </a:cubicBezTo>
                  <a:cubicBezTo>
                    <a:pt x="29" y="41"/>
                    <a:pt x="29" y="41"/>
                    <a:pt x="29" y="41"/>
                  </a:cubicBezTo>
                  <a:cubicBezTo>
                    <a:pt x="30" y="43"/>
                    <a:pt x="31" y="45"/>
                    <a:pt x="32" y="46"/>
                  </a:cubicBezTo>
                  <a:cubicBezTo>
                    <a:pt x="36" y="49"/>
                    <a:pt x="42" y="49"/>
                    <a:pt x="46" y="45"/>
                  </a:cubicBezTo>
                  <a:cubicBezTo>
                    <a:pt x="46" y="47"/>
                    <a:pt x="47" y="49"/>
                    <a:pt x="49" y="50"/>
                  </a:cubicBezTo>
                  <a:cubicBezTo>
                    <a:pt x="53" y="53"/>
                    <a:pt x="58" y="53"/>
                    <a:pt x="62" y="48"/>
                  </a:cubicBezTo>
                  <a:cubicBezTo>
                    <a:pt x="65" y="43"/>
                    <a:pt x="65" y="43"/>
                    <a:pt x="65" y="43"/>
                  </a:cubicBezTo>
                  <a:lnTo>
                    <a:pt x="14" y="0"/>
                  </a:ln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Freeform 196"/>
            <p:cNvSpPr>
              <a:spLocks/>
            </p:cNvSpPr>
            <p:nvPr userDrawn="1"/>
          </p:nvSpPr>
          <p:spPr bwMode="auto">
            <a:xfrm>
              <a:off x="10240964" y="3955098"/>
              <a:ext cx="34925" cy="47625"/>
            </a:xfrm>
            <a:custGeom>
              <a:avLst/>
              <a:gdLst>
                <a:gd name="T0" fmla="*/ 24 w 24"/>
                <a:gd name="T1" fmla="*/ 32 h 32"/>
                <a:gd name="T2" fmla="*/ 24 w 24"/>
                <a:gd name="T3" fmla="*/ 12 h 32"/>
                <a:gd name="T4" fmla="*/ 12 w 24"/>
                <a:gd name="T5" fmla="*/ 0 h 32"/>
                <a:gd name="T6" fmla="*/ 0 w 24"/>
                <a:gd name="T7" fmla="*/ 12 h 32"/>
                <a:gd name="T8" fmla="*/ 0 w 24"/>
                <a:gd name="T9" fmla="*/ 32 h 32"/>
                <a:gd name="T10" fmla="*/ 24 w 24"/>
                <a:gd name="T11" fmla="*/ 32 h 32"/>
              </a:gdLst>
              <a:ahLst/>
              <a:cxnLst>
                <a:cxn ang="0">
                  <a:pos x="T0" y="T1"/>
                </a:cxn>
                <a:cxn ang="0">
                  <a:pos x="T2" y="T3"/>
                </a:cxn>
                <a:cxn ang="0">
                  <a:pos x="T4" y="T5"/>
                </a:cxn>
                <a:cxn ang="0">
                  <a:pos x="T6" y="T7"/>
                </a:cxn>
                <a:cxn ang="0">
                  <a:pos x="T8" y="T9"/>
                </a:cxn>
                <a:cxn ang="0">
                  <a:pos x="T10" y="T11"/>
                </a:cxn>
              </a:cxnLst>
              <a:rect l="0" t="0" r="r" b="b"/>
              <a:pathLst>
                <a:path w="24" h="32">
                  <a:moveTo>
                    <a:pt x="24" y="32"/>
                  </a:moveTo>
                  <a:cubicBezTo>
                    <a:pt x="24" y="12"/>
                    <a:pt x="24" y="12"/>
                    <a:pt x="24" y="12"/>
                  </a:cubicBezTo>
                  <a:cubicBezTo>
                    <a:pt x="24" y="6"/>
                    <a:pt x="19" y="0"/>
                    <a:pt x="12" y="0"/>
                  </a:cubicBezTo>
                  <a:cubicBezTo>
                    <a:pt x="6" y="0"/>
                    <a:pt x="0" y="5"/>
                    <a:pt x="0" y="12"/>
                  </a:cubicBezTo>
                  <a:cubicBezTo>
                    <a:pt x="0" y="32"/>
                    <a:pt x="0" y="32"/>
                    <a:pt x="0" y="32"/>
                  </a:cubicBezTo>
                  <a:lnTo>
                    <a:pt x="24" y="32"/>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Freeform 197"/>
            <p:cNvSpPr>
              <a:spLocks/>
            </p:cNvSpPr>
            <p:nvPr userDrawn="1"/>
          </p:nvSpPr>
          <p:spPr bwMode="auto">
            <a:xfrm>
              <a:off x="10275889" y="3940810"/>
              <a:ext cx="36513" cy="61913"/>
            </a:xfrm>
            <a:custGeom>
              <a:avLst/>
              <a:gdLst>
                <a:gd name="T0" fmla="*/ 24 w 24"/>
                <a:gd name="T1" fmla="*/ 41 h 41"/>
                <a:gd name="T2" fmla="*/ 24 w 24"/>
                <a:gd name="T3" fmla="*/ 12 h 41"/>
                <a:gd name="T4" fmla="*/ 12 w 24"/>
                <a:gd name="T5" fmla="*/ 0 h 41"/>
                <a:gd name="T6" fmla="*/ 0 w 24"/>
                <a:gd name="T7" fmla="*/ 12 h 41"/>
                <a:gd name="T8" fmla="*/ 0 w 24"/>
                <a:gd name="T9" fmla="*/ 41 h 41"/>
                <a:gd name="T10" fmla="*/ 24 w 24"/>
                <a:gd name="T11" fmla="*/ 41 h 41"/>
              </a:gdLst>
              <a:ahLst/>
              <a:cxnLst>
                <a:cxn ang="0">
                  <a:pos x="T0" y="T1"/>
                </a:cxn>
                <a:cxn ang="0">
                  <a:pos x="T2" y="T3"/>
                </a:cxn>
                <a:cxn ang="0">
                  <a:pos x="T4" y="T5"/>
                </a:cxn>
                <a:cxn ang="0">
                  <a:pos x="T6" y="T7"/>
                </a:cxn>
                <a:cxn ang="0">
                  <a:pos x="T8" y="T9"/>
                </a:cxn>
                <a:cxn ang="0">
                  <a:pos x="T10" y="T11"/>
                </a:cxn>
              </a:cxnLst>
              <a:rect l="0" t="0" r="r" b="b"/>
              <a:pathLst>
                <a:path w="24" h="41">
                  <a:moveTo>
                    <a:pt x="24" y="41"/>
                  </a:moveTo>
                  <a:cubicBezTo>
                    <a:pt x="24" y="12"/>
                    <a:pt x="24" y="12"/>
                    <a:pt x="24" y="12"/>
                  </a:cubicBezTo>
                  <a:cubicBezTo>
                    <a:pt x="24" y="6"/>
                    <a:pt x="19" y="0"/>
                    <a:pt x="12" y="0"/>
                  </a:cubicBezTo>
                  <a:cubicBezTo>
                    <a:pt x="6" y="0"/>
                    <a:pt x="0" y="5"/>
                    <a:pt x="0" y="12"/>
                  </a:cubicBezTo>
                  <a:cubicBezTo>
                    <a:pt x="0" y="41"/>
                    <a:pt x="0" y="41"/>
                    <a:pt x="0" y="41"/>
                  </a:cubicBezTo>
                  <a:lnTo>
                    <a:pt x="24" y="41"/>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Freeform 198"/>
            <p:cNvSpPr>
              <a:spLocks/>
            </p:cNvSpPr>
            <p:nvPr userDrawn="1"/>
          </p:nvSpPr>
          <p:spPr bwMode="auto">
            <a:xfrm>
              <a:off x="10347327" y="3940810"/>
              <a:ext cx="36513" cy="61913"/>
            </a:xfrm>
            <a:custGeom>
              <a:avLst/>
              <a:gdLst>
                <a:gd name="T0" fmla="*/ 24 w 24"/>
                <a:gd name="T1" fmla="*/ 41 h 41"/>
                <a:gd name="T2" fmla="*/ 24 w 24"/>
                <a:gd name="T3" fmla="*/ 13 h 41"/>
                <a:gd name="T4" fmla="*/ 12 w 24"/>
                <a:gd name="T5" fmla="*/ 1 h 41"/>
                <a:gd name="T6" fmla="*/ 0 w 24"/>
                <a:gd name="T7" fmla="*/ 12 h 41"/>
                <a:gd name="T8" fmla="*/ 0 w 24"/>
                <a:gd name="T9" fmla="*/ 41 h 41"/>
                <a:gd name="T10" fmla="*/ 24 w 24"/>
                <a:gd name="T11" fmla="*/ 41 h 41"/>
              </a:gdLst>
              <a:ahLst/>
              <a:cxnLst>
                <a:cxn ang="0">
                  <a:pos x="T0" y="T1"/>
                </a:cxn>
                <a:cxn ang="0">
                  <a:pos x="T2" y="T3"/>
                </a:cxn>
                <a:cxn ang="0">
                  <a:pos x="T4" y="T5"/>
                </a:cxn>
                <a:cxn ang="0">
                  <a:pos x="T6" y="T7"/>
                </a:cxn>
                <a:cxn ang="0">
                  <a:pos x="T8" y="T9"/>
                </a:cxn>
                <a:cxn ang="0">
                  <a:pos x="T10" y="T11"/>
                </a:cxn>
              </a:cxnLst>
              <a:rect l="0" t="0" r="r" b="b"/>
              <a:pathLst>
                <a:path w="24" h="41">
                  <a:moveTo>
                    <a:pt x="24" y="41"/>
                  </a:moveTo>
                  <a:cubicBezTo>
                    <a:pt x="24" y="13"/>
                    <a:pt x="24" y="13"/>
                    <a:pt x="24" y="13"/>
                  </a:cubicBezTo>
                  <a:cubicBezTo>
                    <a:pt x="24" y="6"/>
                    <a:pt x="19" y="1"/>
                    <a:pt x="12" y="1"/>
                  </a:cubicBezTo>
                  <a:cubicBezTo>
                    <a:pt x="6" y="0"/>
                    <a:pt x="0" y="6"/>
                    <a:pt x="0" y="12"/>
                  </a:cubicBezTo>
                  <a:cubicBezTo>
                    <a:pt x="0" y="41"/>
                    <a:pt x="0" y="41"/>
                    <a:pt x="0" y="41"/>
                  </a:cubicBezTo>
                  <a:lnTo>
                    <a:pt x="24" y="41"/>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199"/>
            <p:cNvSpPr>
              <a:spLocks/>
            </p:cNvSpPr>
            <p:nvPr userDrawn="1"/>
          </p:nvSpPr>
          <p:spPr bwMode="auto">
            <a:xfrm>
              <a:off x="10312402" y="3931285"/>
              <a:ext cx="34925" cy="71438"/>
            </a:xfrm>
            <a:custGeom>
              <a:avLst/>
              <a:gdLst>
                <a:gd name="T0" fmla="*/ 24 w 24"/>
                <a:gd name="T1" fmla="*/ 48 h 48"/>
                <a:gd name="T2" fmla="*/ 24 w 24"/>
                <a:gd name="T3" fmla="*/ 13 h 48"/>
                <a:gd name="T4" fmla="*/ 12 w 24"/>
                <a:gd name="T5" fmla="*/ 1 h 48"/>
                <a:gd name="T6" fmla="*/ 0 w 24"/>
                <a:gd name="T7" fmla="*/ 12 h 48"/>
                <a:gd name="T8" fmla="*/ 0 w 24"/>
                <a:gd name="T9" fmla="*/ 48 h 48"/>
                <a:gd name="T10" fmla="*/ 24 w 24"/>
                <a:gd name="T11" fmla="*/ 48 h 48"/>
              </a:gdLst>
              <a:ahLst/>
              <a:cxnLst>
                <a:cxn ang="0">
                  <a:pos x="T0" y="T1"/>
                </a:cxn>
                <a:cxn ang="0">
                  <a:pos x="T2" y="T3"/>
                </a:cxn>
                <a:cxn ang="0">
                  <a:pos x="T4" y="T5"/>
                </a:cxn>
                <a:cxn ang="0">
                  <a:pos x="T6" y="T7"/>
                </a:cxn>
                <a:cxn ang="0">
                  <a:pos x="T8" y="T9"/>
                </a:cxn>
                <a:cxn ang="0">
                  <a:pos x="T10" y="T11"/>
                </a:cxn>
              </a:cxnLst>
              <a:rect l="0" t="0" r="r" b="b"/>
              <a:pathLst>
                <a:path w="24" h="48">
                  <a:moveTo>
                    <a:pt x="24" y="48"/>
                  </a:moveTo>
                  <a:cubicBezTo>
                    <a:pt x="24" y="13"/>
                    <a:pt x="24" y="13"/>
                    <a:pt x="24" y="13"/>
                  </a:cubicBezTo>
                  <a:cubicBezTo>
                    <a:pt x="24" y="6"/>
                    <a:pt x="19" y="1"/>
                    <a:pt x="12" y="1"/>
                  </a:cubicBezTo>
                  <a:cubicBezTo>
                    <a:pt x="6" y="0"/>
                    <a:pt x="0" y="6"/>
                    <a:pt x="0" y="12"/>
                  </a:cubicBezTo>
                  <a:cubicBezTo>
                    <a:pt x="0" y="48"/>
                    <a:pt x="0" y="48"/>
                    <a:pt x="0" y="48"/>
                  </a:cubicBezTo>
                  <a:lnTo>
                    <a:pt x="24" y="48"/>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Freeform 200"/>
            <p:cNvSpPr>
              <a:spLocks/>
            </p:cNvSpPr>
            <p:nvPr userDrawn="1"/>
          </p:nvSpPr>
          <p:spPr bwMode="auto">
            <a:xfrm>
              <a:off x="10240964" y="3996373"/>
              <a:ext cx="176213" cy="65088"/>
            </a:xfrm>
            <a:custGeom>
              <a:avLst/>
              <a:gdLst>
                <a:gd name="T0" fmla="*/ 0 w 119"/>
                <a:gd name="T1" fmla="*/ 0 h 44"/>
                <a:gd name="T2" fmla="*/ 17 w 119"/>
                <a:gd name="T3" fmla="*/ 32 h 44"/>
                <a:gd name="T4" fmla="*/ 71 w 119"/>
                <a:gd name="T5" fmla="*/ 33 h 44"/>
                <a:gd name="T6" fmla="*/ 119 w 119"/>
                <a:gd name="T7" fmla="*/ 0 h 44"/>
                <a:gd name="T8" fmla="*/ 0 w 119"/>
                <a:gd name="T9" fmla="*/ 0 h 44"/>
              </a:gdLst>
              <a:ahLst/>
              <a:cxnLst>
                <a:cxn ang="0">
                  <a:pos x="T0" y="T1"/>
                </a:cxn>
                <a:cxn ang="0">
                  <a:pos x="T2" y="T3"/>
                </a:cxn>
                <a:cxn ang="0">
                  <a:pos x="T4" y="T5"/>
                </a:cxn>
                <a:cxn ang="0">
                  <a:pos x="T6" y="T7"/>
                </a:cxn>
                <a:cxn ang="0">
                  <a:pos x="T8" y="T9"/>
                </a:cxn>
              </a:cxnLst>
              <a:rect l="0" t="0" r="r" b="b"/>
              <a:pathLst>
                <a:path w="119" h="44">
                  <a:moveTo>
                    <a:pt x="0" y="0"/>
                  </a:moveTo>
                  <a:cubicBezTo>
                    <a:pt x="1" y="14"/>
                    <a:pt x="7" y="25"/>
                    <a:pt x="17" y="32"/>
                  </a:cubicBezTo>
                  <a:cubicBezTo>
                    <a:pt x="33" y="44"/>
                    <a:pt x="54" y="43"/>
                    <a:pt x="71" y="33"/>
                  </a:cubicBezTo>
                  <a:cubicBezTo>
                    <a:pt x="119" y="0"/>
                    <a:pt x="119" y="0"/>
                    <a:pt x="119" y="0"/>
                  </a:cubicBezTo>
                  <a:lnTo>
                    <a:pt x="0" y="0"/>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69508235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l Section Divider Lifestyle">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2" name="Title 1"/>
          <p:cNvSpPr>
            <a:spLocks noGrp="1"/>
          </p:cNvSpPr>
          <p:nvPr>
            <p:ph type="title" hasCustomPrompt="1"/>
          </p:nvPr>
        </p:nvSpPr>
        <p:spPr>
          <a:xfrm>
            <a:off x="381293" y="917254"/>
            <a:ext cx="5378549" cy="5023491"/>
          </a:xfrm>
        </p:spPr>
        <p:txBody>
          <a:bodyPr wrap="square" anchor="ctr"/>
          <a:lstStyle>
            <a:lvl1pPr>
              <a:defRPr sz="5294">
                <a:gradFill>
                  <a:gsLst>
                    <a:gs pos="2917">
                      <a:srgbClr val="0078D7"/>
                    </a:gs>
                    <a:gs pos="100000">
                      <a:srgbClr val="0078D7">
                        <a:alpha val="99000"/>
                      </a:srgbClr>
                    </a:gs>
                  </a:gsLst>
                  <a:lin ang="5400000" scaled="0"/>
                </a:gradFill>
                <a:latin typeface="Segoe UI Semilight" panose="020B0402040204020203" pitchFamily="34" charset="0"/>
                <a:cs typeface="Segoe UI Semilight" panose="020B0402040204020203" pitchFamily="34" charset="0"/>
              </a:defRPr>
            </a:lvl1pPr>
          </a:lstStyle>
          <a:p>
            <a:r>
              <a:rPr lang="en-US" dirty="0"/>
              <a:t>Click to add section divider title</a:t>
            </a:r>
          </a:p>
        </p:txBody>
      </p:sp>
      <p:sp>
        <p:nvSpPr>
          <p:cNvPr id="8" name="Rectangle 6"/>
          <p:cNvSpPr>
            <a:spLocks noChangeArrowheads="1"/>
          </p:cNvSpPr>
          <p:nvPr userDrawn="1"/>
        </p:nvSpPr>
        <p:spPr bwMode="auto">
          <a:xfrm>
            <a:off x="6201830" y="1666092"/>
            <a:ext cx="5607324" cy="3256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 name="Picture Placeholder 3"/>
          <p:cNvSpPr>
            <a:spLocks noGrp="1"/>
          </p:cNvSpPr>
          <p:nvPr>
            <p:ph type="pic" sz="quarter" idx="10"/>
          </p:nvPr>
        </p:nvSpPr>
        <p:spPr>
          <a:xfrm>
            <a:off x="6096001" y="0"/>
            <a:ext cx="6096000" cy="6858000"/>
          </a:xfrm>
          <a:blipFill>
            <a:blip r:embed="rId2"/>
            <a:stretch>
              <a:fillRect/>
            </a:stretch>
          </a:blipFill>
        </p:spPr>
        <p:txBody>
          <a:bodyPr anchor="ctr"/>
          <a:lstStyle>
            <a:lvl1pPr algn="ctr">
              <a:defRPr>
                <a:solidFill>
                  <a:schemeClr val="bg1">
                    <a:alpha val="0"/>
                  </a:schemeClr>
                </a:solidFill>
              </a:defRPr>
            </a:lvl1pPr>
          </a:lstStyle>
          <a:p>
            <a:endParaRPr lang="en-US"/>
          </a:p>
        </p:txBody>
      </p:sp>
    </p:spTree>
    <p:extLst>
      <p:ext uri="{BB962C8B-B14F-4D97-AF65-F5344CB8AC3E}">
        <p14:creationId xmlns:p14="http://schemas.microsoft.com/office/powerpoint/2010/main" val="110925877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Edu Grade 6-8">
    <p:spTree>
      <p:nvGrpSpPr>
        <p:cNvPr id="1" name=""/>
        <p:cNvGrpSpPr/>
        <p:nvPr/>
      </p:nvGrpSpPr>
      <p:grpSpPr>
        <a:xfrm>
          <a:off x="0" y="0"/>
          <a:ext cx="0" cy="0"/>
          <a:chOff x="0" y="0"/>
          <a:chExt cx="0" cy="0"/>
        </a:xfrm>
      </p:grpSpPr>
      <p:sp>
        <p:nvSpPr>
          <p:cNvPr id="8" name="Rectangle 7"/>
          <p:cNvSpPr/>
          <p:nvPr userDrawn="1"/>
        </p:nvSpPr>
        <p:spPr>
          <a:xfrm>
            <a:off x="0" y="0"/>
            <a:ext cx="4004343" cy="6858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67807" y="6116477"/>
            <a:ext cx="1358520" cy="515207"/>
          </a:xfrm>
          <a:prstGeom prst="rect">
            <a:avLst/>
          </a:prstGeom>
        </p:spPr>
      </p:pic>
      <p:sp>
        <p:nvSpPr>
          <p:cNvPr id="2" name="Title 1"/>
          <p:cNvSpPr>
            <a:spLocks noGrp="1"/>
          </p:cNvSpPr>
          <p:nvPr>
            <p:ph type="title" hasCustomPrompt="1"/>
          </p:nvPr>
        </p:nvSpPr>
        <p:spPr>
          <a:xfrm>
            <a:off x="381293" y="365781"/>
            <a:ext cx="3406414" cy="3063219"/>
          </a:xfrm>
        </p:spPr>
        <p:txBody>
          <a:bodyPr wrap="square" tIns="0" bIns="0" anchor="ctr"/>
          <a:lstStyle>
            <a:lvl1pPr>
              <a:defRPr sz="3921">
                <a:gradFill>
                  <a:gsLst>
                    <a:gs pos="2917">
                      <a:schemeClr val="bg1"/>
                    </a:gs>
                    <a:gs pos="100000">
                      <a:schemeClr val="bg1">
                        <a:alpha val="99000"/>
                      </a:schemeClr>
                    </a:gs>
                  </a:gsLst>
                  <a:lin ang="5400000" scaled="0"/>
                </a:gradFill>
                <a:latin typeface="Segoe UI Semilight" panose="020B0402040204020203" pitchFamily="34" charset="0"/>
                <a:cs typeface="Segoe UI Semilight" panose="020B0402040204020203" pitchFamily="34" charset="0"/>
              </a:defRPr>
            </a:lvl1pPr>
          </a:lstStyle>
          <a:p>
            <a:r>
              <a:rPr lang="en-US" dirty="0"/>
              <a:t>Click to add presentation title</a:t>
            </a:r>
          </a:p>
        </p:txBody>
      </p:sp>
      <p:sp>
        <p:nvSpPr>
          <p:cNvPr id="5" name="Picture Placeholder 4"/>
          <p:cNvSpPr>
            <a:spLocks noGrp="1"/>
          </p:cNvSpPr>
          <p:nvPr>
            <p:ph type="pic" sz="quarter" idx="10"/>
          </p:nvPr>
        </p:nvSpPr>
        <p:spPr>
          <a:xfrm>
            <a:off x="4004343" y="0"/>
            <a:ext cx="8187657" cy="6858000"/>
          </a:xfrm>
          <a:blipFill>
            <a:blip r:embed="rId3"/>
            <a:srcRect/>
            <a:stretch>
              <a:fillRect/>
            </a:stretch>
          </a:blipFill>
        </p:spPr>
        <p:txBody>
          <a:bodyPr anchor="ctr"/>
          <a:lstStyle>
            <a:lvl1pPr algn="ctr">
              <a:defRPr>
                <a:solidFill>
                  <a:schemeClr val="bg1">
                    <a:alpha val="0"/>
                  </a:schemeClr>
                </a:solidFill>
              </a:defRPr>
            </a:lvl1pPr>
          </a:lstStyle>
          <a:p>
            <a:endParaRPr lang="en-US" dirty="0"/>
          </a:p>
        </p:txBody>
      </p:sp>
      <p:sp>
        <p:nvSpPr>
          <p:cNvPr id="16" name="Text Placeholder 15"/>
          <p:cNvSpPr>
            <a:spLocks noGrp="1"/>
          </p:cNvSpPr>
          <p:nvPr>
            <p:ph type="body" sz="quarter" idx="11" hasCustomPrompt="1"/>
          </p:nvPr>
        </p:nvSpPr>
        <p:spPr>
          <a:xfrm>
            <a:off x="381292" y="3429001"/>
            <a:ext cx="3406414" cy="2059267"/>
          </a:xfrm>
        </p:spPr>
        <p:txBody>
          <a:bodyPr tIns="0" bIns="0" anchor="ctr"/>
          <a:lstStyle>
            <a:lvl1pPr>
              <a:defRPr sz="1961">
                <a:gradFill>
                  <a:gsLst>
                    <a:gs pos="2917">
                      <a:schemeClr val="bg1"/>
                    </a:gs>
                    <a:gs pos="100000">
                      <a:schemeClr val="bg1">
                        <a:alpha val="99000"/>
                      </a:schemeClr>
                    </a:gs>
                  </a:gsLst>
                  <a:lin ang="5400000" scaled="0"/>
                </a:gradFill>
              </a:defRPr>
            </a:lvl1pPr>
            <a:lvl2pPr>
              <a:defRPr sz="1765">
                <a:gradFill>
                  <a:gsLst>
                    <a:gs pos="2917">
                      <a:schemeClr val="bg1"/>
                    </a:gs>
                    <a:gs pos="100000">
                      <a:schemeClr val="bg1">
                        <a:alpha val="99000"/>
                      </a:schemeClr>
                    </a:gs>
                  </a:gsLst>
                  <a:lin ang="5400000" scaled="0"/>
                </a:gradFill>
              </a:defRPr>
            </a:lvl2pPr>
            <a:lvl3pPr marL="3112" indent="0">
              <a:buNone/>
              <a:defRPr sz="1961">
                <a:gradFill>
                  <a:gsLst>
                    <a:gs pos="2917">
                      <a:schemeClr val="bg1"/>
                    </a:gs>
                    <a:gs pos="100000">
                      <a:schemeClr val="bg1">
                        <a:alpha val="99000"/>
                      </a:schemeClr>
                    </a:gs>
                  </a:gsLst>
                  <a:lin ang="5400000" scaled="0"/>
                </a:gradFill>
              </a:defRPr>
            </a:lvl3pPr>
            <a:lvl4pPr>
              <a:defRPr sz="1961">
                <a:gradFill>
                  <a:gsLst>
                    <a:gs pos="2917">
                      <a:schemeClr val="bg1"/>
                    </a:gs>
                    <a:gs pos="100000">
                      <a:schemeClr val="bg1">
                        <a:alpha val="99000"/>
                      </a:schemeClr>
                    </a:gs>
                  </a:gsLst>
                  <a:lin ang="5400000" scaled="0"/>
                </a:gradFill>
              </a:defRPr>
            </a:lvl4pPr>
            <a:lvl5pPr>
              <a:defRPr sz="1961">
                <a:gradFill>
                  <a:gsLst>
                    <a:gs pos="2917">
                      <a:schemeClr val="bg1"/>
                    </a:gs>
                    <a:gs pos="100000">
                      <a:schemeClr val="bg1">
                        <a:alpha val="99000"/>
                      </a:schemeClr>
                    </a:gs>
                  </a:gsLst>
                  <a:lin ang="5400000" scaled="0"/>
                </a:gradFill>
              </a:defRPr>
            </a:lvl5pPr>
          </a:lstStyle>
          <a:p>
            <a:pPr lvl="0"/>
            <a:r>
              <a:rPr lang="en-US" dirty="0"/>
              <a:t>Click to add byline</a:t>
            </a:r>
          </a:p>
          <a:p>
            <a:pPr lvl="1"/>
            <a:r>
              <a:rPr lang="en-US" dirty="0"/>
              <a:t>Second level</a:t>
            </a:r>
          </a:p>
        </p:txBody>
      </p:sp>
    </p:spTree>
    <p:extLst>
      <p:ext uri="{BB962C8B-B14F-4D97-AF65-F5344CB8AC3E}">
        <p14:creationId xmlns:p14="http://schemas.microsoft.com/office/powerpoint/2010/main" val="240683642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al Section 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294" y="917254"/>
            <a:ext cx="5714707" cy="5023491"/>
          </a:xfrm>
        </p:spPr>
        <p:txBody>
          <a:bodyPr wrap="square" anchor="ctr"/>
          <a:lstStyle>
            <a:lvl1pPr>
              <a:defRPr sz="5294">
                <a:gradFill>
                  <a:gsLst>
                    <a:gs pos="4000">
                      <a:srgbClr val="0078D7"/>
                    </a:gs>
                    <a:gs pos="100000">
                      <a:srgbClr val="0078D7">
                        <a:alpha val="99000"/>
                      </a:srgbClr>
                    </a:gs>
                  </a:gsLst>
                  <a:lin ang="5400000" scaled="0"/>
                </a:gradFill>
                <a:latin typeface="Segoe UI Semilight" panose="020B0402040204020203" pitchFamily="34" charset="0"/>
                <a:cs typeface="Segoe UI Semilight" panose="020B0402040204020203" pitchFamily="34" charset="0"/>
              </a:defRPr>
            </a:lvl1pPr>
          </a:lstStyle>
          <a:p>
            <a:r>
              <a:rPr lang="en-US" dirty="0"/>
              <a:t>Click to add section divider title</a:t>
            </a:r>
          </a:p>
        </p:txBody>
      </p:sp>
      <p:sp>
        <p:nvSpPr>
          <p:cNvPr id="8" name="Rectangle 6"/>
          <p:cNvSpPr>
            <a:spLocks noChangeArrowheads="1"/>
          </p:cNvSpPr>
          <p:nvPr userDrawn="1"/>
        </p:nvSpPr>
        <p:spPr bwMode="auto">
          <a:xfrm>
            <a:off x="6201830" y="1666092"/>
            <a:ext cx="5607324" cy="3256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pic>
        <p:nvPicPr>
          <p:cNvPr id="118" name="Picture 1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8004" y="2181610"/>
            <a:ext cx="4351200" cy="2789273"/>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43932" y="5993527"/>
            <a:ext cx="1693738" cy="759254"/>
          </a:xfrm>
          <a:prstGeom prst="rect">
            <a:avLst/>
          </a:prstGeom>
        </p:spPr>
      </p:pic>
    </p:spTree>
    <p:extLst>
      <p:ext uri="{BB962C8B-B14F-4D97-AF65-F5344CB8AC3E}">
        <p14:creationId xmlns:p14="http://schemas.microsoft.com/office/powerpoint/2010/main" val="161212617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9DE2E20-C700-4A3A-A890-B84EE414F382}" type="datetime1">
              <a:rPr lang="en-US" smtClean="0"/>
              <a:t>4/17/2020</a:t>
            </a:fld>
            <a:endParaRPr lang="en-US"/>
          </a:p>
        </p:txBody>
      </p:sp>
      <p:sp>
        <p:nvSpPr>
          <p:cNvPr id="4" name="Footer Placeholder 3"/>
          <p:cNvSpPr>
            <a:spLocks noGrp="1"/>
          </p:cNvSpPr>
          <p:nvPr>
            <p:ph type="ftr" sz="quarter" idx="11"/>
          </p:nvPr>
        </p:nvSpPr>
        <p:spPr/>
        <p:txBody>
          <a:bodyPr/>
          <a:lstStyle/>
          <a:p>
            <a:r>
              <a:rPr lang="en-US"/>
              <a:t>microsoft.com/education</a:t>
            </a:r>
            <a:endParaRPr lang="en-US" dirty="0"/>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7" name="Media Placeholder 6"/>
          <p:cNvSpPr>
            <a:spLocks noGrp="1"/>
          </p:cNvSpPr>
          <p:nvPr>
            <p:ph type="media" sz="quarter" idx="13"/>
          </p:nvPr>
        </p:nvSpPr>
        <p:spPr>
          <a:xfrm>
            <a:off x="0" y="0"/>
            <a:ext cx="12192000" cy="6858000"/>
          </a:xfrm>
          <a:solidFill>
            <a:schemeClr val="tx1">
              <a:lumMod val="50000"/>
            </a:schemeClr>
          </a:solidFill>
        </p:spPr>
        <p:txBody>
          <a:bodyPr tIns="1280160" anchor="ctr"/>
          <a:lstStyle>
            <a:lvl1pPr algn="ctr">
              <a:defRPr/>
            </a:lvl1pPr>
          </a:lstStyle>
          <a:p>
            <a:endParaRPr lang="en-US"/>
          </a:p>
        </p:txBody>
      </p:sp>
    </p:spTree>
    <p:extLst>
      <p:ext uri="{BB962C8B-B14F-4D97-AF65-F5344CB8AC3E}">
        <p14:creationId xmlns:p14="http://schemas.microsoft.com/office/powerpoint/2010/main" val="82128297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9DE2E20-C700-4A3A-A890-B84EE414F382}" type="datetime1">
              <a:rPr lang="en-US" smtClean="0"/>
              <a:t>4/17/2020</a:t>
            </a:fld>
            <a:endParaRPr lang="en-US"/>
          </a:p>
        </p:txBody>
      </p:sp>
      <p:sp>
        <p:nvSpPr>
          <p:cNvPr id="4" name="Footer Placeholder 3"/>
          <p:cNvSpPr>
            <a:spLocks noGrp="1"/>
          </p:cNvSpPr>
          <p:nvPr>
            <p:ph type="ftr" sz="quarter" idx="11"/>
          </p:nvPr>
        </p:nvSpPr>
        <p:spPr/>
        <p:txBody>
          <a:bodyPr/>
          <a:lstStyle/>
          <a:p>
            <a:r>
              <a:rPr lang="en-US"/>
              <a:t>microsoft.com/education</a:t>
            </a:r>
            <a:endParaRPr lang="en-US" dirty="0"/>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52569081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2"/>
          <p:cNvSpPr>
            <a:spLocks noGrp="1"/>
          </p:cNvSpPr>
          <p:nvPr>
            <p:ph type="body" sz="quarter" idx="14"/>
          </p:nvPr>
        </p:nvSpPr>
        <p:spPr>
          <a:xfrm>
            <a:off x="381294" y="838963"/>
            <a:ext cx="3007457" cy="452654"/>
          </a:xfrm>
        </p:spPr>
        <p:txBody>
          <a:bodyPr wrap="none">
            <a:spAutoFit/>
          </a:bodyPr>
          <a:lstStyle>
            <a:lvl1pPr>
              <a:defRPr lang="en-US" sz="2353" kern="1200" baseline="0" dirty="0">
                <a:gradFill>
                  <a:gsLst>
                    <a:gs pos="2917">
                      <a:schemeClr val="tx1">
                        <a:lumMod val="75000"/>
                      </a:schemeClr>
                    </a:gs>
                    <a:gs pos="100000">
                      <a:schemeClr val="tx1">
                        <a:lumMod val="75000"/>
                      </a:schemeClr>
                    </a:gs>
                  </a:gsLst>
                  <a:lin ang="5400000" scaled="0"/>
                </a:gradFill>
                <a:latin typeface="Segoe UI Semibold" panose="020B0702040204020203" pitchFamily="34" charset="0"/>
                <a:ea typeface="+mn-ea"/>
                <a:cs typeface="Segoe UI Semibold" panose="020B0702040204020203" pitchFamily="34" charset="0"/>
              </a:defRPr>
            </a:lvl1pPr>
          </a:lstStyle>
          <a:p>
            <a:pPr lvl="0"/>
            <a:r>
              <a:rPr lang="en-US" dirty="0"/>
              <a:t>Edit Master text styles</a:t>
            </a:r>
          </a:p>
        </p:txBody>
      </p:sp>
      <p:sp>
        <p:nvSpPr>
          <p:cNvPr id="7" name="Date Placeholder 6"/>
          <p:cNvSpPr>
            <a:spLocks noGrp="1"/>
          </p:cNvSpPr>
          <p:nvPr>
            <p:ph type="dt" sz="half" idx="15"/>
          </p:nvPr>
        </p:nvSpPr>
        <p:spPr/>
        <p:txBody>
          <a:bodyPr/>
          <a:lstStyle/>
          <a:p>
            <a:fld id="{89DE2E20-C700-4A3A-A890-B84EE414F382}" type="datetime1">
              <a:rPr lang="en-US" smtClean="0"/>
              <a:t>4/17/2020</a:t>
            </a:fld>
            <a:endParaRPr lang="en-US"/>
          </a:p>
        </p:txBody>
      </p:sp>
      <p:sp>
        <p:nvSpPr>
          <p:cNvPr id="8" name="Footer Placeholder 7"/>
          <p:cNvSpPr>
            <a:spLocks noGrp="1"/>
          </p:cNvSpPr>
          <p:nvPr>
            <p:ph type="ftr" sz="quarter" idx="16"/>
          </p:nvPr>
        </p:nvSpPr>
        <p:spPr/>
        <p:txBody>
          <a:bodyPr/>
          <a:lstStyle/>
          <a:p>
            <a:endParaRPr lang="en-US" dirty="0"/>
          </a:p>
        </p:txBody>
      </p:sp>
      <p:sp>
        <p:nvSpPr>
          <p:cNvPr id="9" name="Slide Number Placeholder 8"/>
          <p:cNvSpPr>
            <a:spLocks noGrp="1"/>
          </p:cNvSpPr>
          <p:nvPr>
            <p:ph type="sldNum" sz="quarter" idx="17"/>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317308294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89DE2E20-C700-4A3A-A890-B84EE414F382}" type="datetime1">
              <a:rPr lang="en-US" smtClean="0"/>
              <a:t>4/17/2020</a:t>
            </a:fld>
            <a:endParaRPr lang="en-US"/>
          </a:p>
        </p:txBody>
      </p:sp>
      <p:sp>
        <p:nvSpPr>
          <p:cNvPr id="6" name="Footer Placeholder 5"/>
          <p:cNvSpPr>
            <a:spLocks noGrp="1"/>
          </p:cNvSpPr>
          <p:nvPr>
            <p:ph type="ftr" sz="quarter" idx="11"/>
          </p:nvPr>
        </p:nvSpPr>
        <p:spPr/>
        <p:txBody>
          <a:bodyPr/>
          <a:lstStyle/>
          <a:p>
            <a:r>
              <a:rPr lang="en-US"/>
              <a:t>microsoft.com/education</a:t>
            </a:r>
            <a:endParaRPr lang="en-US" dirty="0"/>
          </a:p>
        </p:txBody>
      </p:sp>
      <p:sp>
        <p:nvSpPr>
          <p:cNvPr id="7" name="Slide Number Placeholder 6"/>
          <p:cNvSpPr>
            <a:spLocks noGrp="1"/>
          </p:cNvSpPr>
          <p:nvPr>
            <p:ph type="sldNum" sz="quarter" idx="12"/>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119017086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Closing">
    <p:bg>
      <p:bgPr>
        <a:solidFill>
          <a:srgbClr val="B4019E"/>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grpSp>
        <p:nvGrpSpPr>
          <p:cNvPr id="3" name="Group 2"/>
          <p:cNvGrpSpPr/>
          <p:nvPr userDrawn="1"/>
        </p:nvGrpSpPr>
        <p:grpSpPr>
          <a:xfrm>
            <a:off x="6362125" y="1494253"/>
            <a:ext cx="5829875" cy="3867937"/>
            <a:chOff x="6489699" y="1524000"/>
            <a:chExt cx="5946776" cy="3944938"/>
          </a:xfrm>
        </p:grpSpPr>
        <p:grpSp>
          <p:nvGrpSpPr>
            <p:cNvPr id="7" name="Group 205"/>
            <p:cNvGrpSpPr>
              <a:grpSpLocks/>
            </p:cNvGrpSpPr>
            <p:nvPr userDrawn="1"/>
          </p:nvGrpSpPr>
          <p:grpSpPr bwMode="auto">
            <a:xfrm>
              <a:off x="6489699" y="1524000"/>
              <a:ext cx="5946776" cy="3944938"/>
              <a:chOff x="1955" y="960"/>
              <a:chExt cx="3746" cy="2485"/>
            </a:xfrm>
          </p:grpSpPr>
          <p:sp>
            <p:nvSpPr>
              <p:cNvPr id="42" name="Rectangle 5"/>
              <p:cNvSpPr>
                <a:spLocks noChangeArrowheads="1"/>
              </p:cNvSpPr>
              <p:nvPr userDrawn="1"/>
            </p:nvSpPr>
            <p:spPr bwMode="auto">
              <a:xfrm>
                <a:off x="1955" y="960"/>
                <a:ext cx="3569" cy="2485"/>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43" name="Rectangle 6"/>
              <p:cNvSpPr>
                <a:spLocks noChangeArrowheads="1"/>
              </p:cNvSpPr>
              <p:nvPr userDrawn="1"/>
            </p:nvSpPr>
            <p:spPr bwMode="auto">
              <a:xfrm>
                <a:off x="2132" y="960"/>
                <a:ext cx="3569" cy="2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Freeform 7"/>
              <p:cNvSpPr>
                <a:spLocks/>
              </p:cNvSpPr>
              <p:nvPr userDrawn="1"/>
            </p:nvSpPr>
            <p:spPr bwMode="auto">
              <a:xfrm>
                <a:off x="3063" y="2852"/>
                <a:ext cx="183" cy="510"/>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Freeform 8"/>
              <p:cNvSpPr>
                <a:spLocks/>
              </p:cNvSpPr>
              <p:nvPr userDrawn="1"/>
            </p:nvSpPr>
            <p:spPr bwMode="auto">
              <a:xfrm>
                <a:off x="4702" y="3016"/>
                <a:ext cx="87" cy="132"/>
              </a:xfrm>
              <a:custGeom>
                <a:avLst/>
                <a:gdLst>
                  <a:gd name="T0" fmla="*/ 0 w 87"/>
                  <a:gd name="T1" fmla="*/ 0 h 132"/>
                  <a:gd name="T2" fmla="*/ 0 w 87"/>
                  <a:gd name="T3" fmla="*/ 0 h 132"/>
                  <a:gd name="T4" fmla="*/ 87 w 87"/>
                  <a:gd name="T5" fmla="*/ 132 h 132"/>
                  <a:gd name="T6" fmla="*/ 0 w 87"/>
                  <a:gd name="T7" fmla="*/ 0 h 132"/>
                </a:gdLst>
                <a:ahLst/>
                <a:cxnLst>
                  <a:cxn ang="0">
                    <a:pos x="T0" y="T1"/>
                  </a:cxn>
                  <a:cxn ang="0">
                    <a:pos x="T2" y="T3"/>
                  </a:cxn>
                  <a:cxn ang="0">
                    <a:pos x="T4" y="T5"/>
                  </a:cxn>
                  <a:cxn ang="0">
                    <a:pos x="T6" y="T7"/>
                  </a:cxn>
                </a:cxnLst>
                <a:rect l="0" t="0" r="r" b="b"/>
                <a:pathLst>
                  <a:path w="87" h="132">
                    <a:moveTo>
                      <a:pt x="0" y="0"/>
                    </a:moveTo>
                    <a:lnTo>
                      <a:pt x="0" y="0"/>
                    </a:lnTo>
                    <a:lnTo>
                      <a:pt x="87" y="132"/>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Freeform 9"/>
              <p:cNvSpPr>
                <a:spLocks/>
              </p:cNvSpPr>
              <p:nvPr userDrawn="1"/>
            </p:nvSpPr>
            <p:spPr bwMode="auto">
              <a:xfrm>
                <a:off x="4702" y="3016"/>
                <a:ext cx="87" cy="132"/>
              </a:xfrm>
              <a:custGeom>
                <a:avLst/>
                <a:gdLst>
                  <a:gd name="T0" fmla="*/ 0 w 87"/>
                  <a:gd name="T1" fmla="*/ 0 h 132"/>
                  <a:gd name="T2" fmla="*/ 0 w 87"/>
                  <a:gd name="T3" fmla="*/ 0 h 132"/>
                  <a:gd name="T4" fmla="*/ 87 w 87"/>
                  <a:gd name="T5" fmla="*/ 132 h 132"/>
                  <a:gd name="T6" fmla="*/ 0 w 87"/>
                  <a:gd name="T7" fmla="*/ 0 h 132"/>
                </a:gdLst>
                <a:ahLst/>
                <a:cxnLst>
                  <a:cxn ang="0">
                    <a:pos x="T0" y="T1"/>
                  </a:cxn>
                  <a:cxn ang="0">
                    <a:pos x="T2" y="T3"/>
                  </a:cxn>
                  <a:cxn ang="0">
                    <a:pos x="T4" y="T5"/>
                  </a:cxn>
                  <a:cxn ang="0">
                    <a:pos x="T6" y="T7"/>
                  </a:cxn>
                </a:cxnLst>
                <a:rect l="0" t="0" r="r" b="b"/>
                <a:pathLst>
                  <a:path w="87" h="132">
                    <a:moveTo>
                      <a:pt x="0" y="0"/>
                    </a:moveTo>
                    <a:lnTo>
                      <a:pt x="0" y="0"/>
                    </a:lnTo>
                    <a:lnTo>
                      <a:pt x="87" y="13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10"/>
              <p:cNvSpPr>
                <a:spLocks/>
              </p:cNvSpPr>
              <p:nvPr userDrawn="1"/>
            </p:nvSpPr>
            <p:spPr bwMode="auto">
              <a:xfrm>
                <a:off x="3401" y="2615"/>
                <a:ext cx="287" cy="386"/>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11"/>
              <p:cNvSpPr>
                <a:spLocks/>
              </p:cNvSpPr>
              <p:nvPr userDrawn="1"/>
            </p:nvSpPr>
            <p:spPr bwMode="auto">
              <a:xfrm>
                <a:off x="2803" y="1545"/>
                <a:ext cx="1994" cy="1471"/>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12"/>
              <p:cNvSpPr>
                <a:spLocks/>
              </p:cNvSpPr>
              <p:nvPr userDrawn="1"/>
            </p:nvSpPr>
            <p:spPr bwMode="auto">
              <a:xfrm>
                <a:off x="2810" y="1600"/>
                <a:ext cx="1929" cy="1360"/>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13"/>
              <p:cNvSpPr>
                <a:spLocks/>
              </p:cNvSpPr>
              <p:nvPr userDrawn="1"/>
            </p:nvSpPr>
            <p:spPr bwMode="auto">
              <a:xfrm>
                <a:off x="2803" y="1545"/>
                <a:ext cx="363" cy="1449"/>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14"/>
              <p:cNvSpPr>
                <a:spLocks/>
              </p:cNvSpPr>
              <p:nvPr userDrawn="1"/>
            </p:nvSpPr>
            <p:spPr bwMode="auto">
              <a:xfrm>
                <a:off x="2803" y="1408"/>
                <a:ext cx="260" cy="1502"/>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15"/>
              <p:cNvSpPr>
                <a:spLocks noEditPoints="1"/>
              </p:cNvSpPr>
              <p:nvPr userDrawn="1"/>
            </p:nvSpPr>
            <p:spPr bwMode="auto">
              <a:xfrm>
                <a:off x="3532" y="1693"/>
                <a:ext cx="768" cy="1169"/>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16"/>
              <p:cNvSpPr>
                <a:spLocks noChangeArrowheads="1"/>
              </p:cNvSpPr>
              <p:nvPr userDrawn="1"/>
            </p:nvSpPr>
            <p:spPr bwMode="auto">
              <a:xfrm>
                <a:off x="4170" y="2569"/>
                <a:ext cx="100" cy="1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Rectangle 17"/>
              <p:cNvSpPr>
                <a:spLocks noChangeArrowheads="1"/>
              </p:cNvSpPr>
              <p:nvPr userDrawn="1"/>
            </p:nvSpPr>
            <p:spPr bwMode="auto">
              <a:xfrm>
                <a:off x="4212" y="2646"/>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Rectangle 18"/>
              <p:cNvSpPr>
                <a:spLocks noChangeArrowheads="1"/>
              </p:cNvSpPr>
              <p:nvPr userDrawn="1"/>
            </p:nvSpPr>
            <p:spPr bwMode="auto">
              <a:xfrm>
                <a:off x="4212" y="2687"/>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Rectangle 19"/>
              <p:cNvSpPr>
                <a:spLocks noChangeArrowheads="1"/>
              </p:cNvSpPr>
              <p:nvPr userDrawn="1"/>
            </p:nvSpPr>
            <p:spPr bwMode="auto">
              <a:xfrm>
                <a:off x="4212" y="2604"/>
                <a:ext cx="16" cy="21"/>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Rectangle 20"/>
              <p:cNvSpPr>
                <a:spLocks noChangeArrowheads="1"/>
              </p:cNvSpPr>
              <p:nvPr userDrawn="1"/>
            </p:nvSpPr>
            <p:spPr bwMode="auto">
              <a:xfrm>
                <a:off x="4212" y="2728"/>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Rectangle 21"/>
              <p:cNvSpPr>
                <a:spLocks noChangeArrowheads="1"/>
              </p:cNvSpPr>
              <p:nvPr userDrawn="1"/>
            </p:nvSpPr>
            <p:spPr bwMode="auto">
              <a:xfrm>
                <a:off x="4212" y="2810"/>
                <a:ext cx="16" cy="21"/>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22"/>
              <p:cNvSpPr>
                <a:spLocks noChangeArrowheads="1"/>
              </p:cNvSpPr>
              <p:nvPr userDrawn="1"/>
            </p:nvSpPr>
            <p:spPr bwMode="auto">
              <a:xfrm>
                <a:off x="4212" y="2769"/>
                <a:ext cx="16" cy="21"/>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23"/>
              <p:cNvSpPr>
                <a:spLocks noChangeArrowheads="1"/>
              </p:cNvSpPr>
              <p:nvPr userDrawn="1"/>
            </p:nvSpPr>
            <p:spPr bwMode="auto">
              <a:xfrm>
                <a:off x="4170" y="2851"/>
                <a:ext cx="100" cy="1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24"/>
              <p:cNvSpPr>
                <a:spLocks noChangeArrowheads="1"/>
              </p:cNvSpPr>
              <p:nvPr userDrawn="1"/>
            </p:nvSpPr>
            <p:spPr bwMode="auto">
              <a:xfrm>
                <a:off x="3286" y="1790"/>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Rectangle 25"/>
              <p:cNvSpPr>
                <a:spLocks noChangeArrowheads="1"/>
              </p:cNvSpPr>
              <p:nvPr userDrawn="1"/>
            </p:nvSpPr>
            <p:spPr bwMode="auto">
              <a:xfrm>
                <a:off x="3286" y="2228"/>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Rectangle 26"/>
              <p:cNvSpPr>
                <a:spLocks noChangeArrowheads="1"/>
              </p:cNvSpPr>
              <p:nvPr userDrawn="1"/>
            </p:nvSpPr>
            <p:spPr bwMode="auto">
              <a:xfrm>
                <a:off x="3286" y="2108"/>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Rectangle 27"/>
              <p:cNvSpPr>
                <a:spLocks noChangeArrowheads="1"/>
              </p:cNvSpPr>
              <p:nvPr userDrawn="1"/>
            </p:nvSpPr>
            <p:spPr bwMode="auto">
              <a:xfrm>
                <a:off x="3286" y="2188"/>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Rectangle 28"/>
              <p:cNvSpPr>
                <a:spLocks noChangeArrowheads="1"/>
              </p:cNvSpPr>
              <p:nvPr userDrawn="1"/>
            </p:nvSpPr>
            <p:spPr bwMode="auto">
              <a:xfrm>
                <a:off x="3286" y="2148"/>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Rectangle 29"/>
              <p:cNvSpPr>
                <a:spLocks noChangeArrowheads="1"/>
              </p:cNvSpPr>
              <p:nvPr userDrawn="1"/>
            </p:nvSpPr>
            <p:spPr bwMode="auto">
              <a:xfrm>
                <a:off x="3286" y="2069"/>
                <a:ext cx="16" cy="19"/>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Rectangle 30"/>
              <p:cNvSpPr>
                <a:spLocks noChangeArrowheads="1"/>
              </p:cNvSpPr>
              <p:nvPr userDrawn="1"/>
            </p:nvSpPr>
            <p:spPr bwMode="auto">
              <a:xfrm>
                <a:off x="3286" y="1910"/>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Rectangle 31"/>
              <p:cNvSpPr>
                <a:spLocks noChangeArrowheads="1"/>
              </p:cNvSpPr>
              <p:nvPr userDrawn="1"/>
            </p:nvSpPr>
            <p:spPr bwMode="auto">
              <a:xfrm>
                <a:off x="3286" y="1830"/>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Rectangle 32"/>
              <p:cNvSpPr>
                <a:spLocks noChangeArrowheads="1"/>
              </p:cNvSpPr>
              <p:nvPr userDrawn="1"/>
            </p:nvSpPr>
            <p:spPr bwMode="auto">
              <a:xfrm>
                <a:off x="3286" y="2029"/>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Rectangle 33"/>
              <p:cNvSpPr>
                <a:spLocks noChangeArrowheads="1"/>
              </p:cNvSpPr>
              <p:nvPr userDrawn="1"/>
            </p:nvSpPr>
            <p:spPr bwMode="auto">
              <a:xfrm>
                <a:off x="3286" y="1870"/>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Rectangle 34"/>
              <p:cNvSpPr>
                <a:spLocks noChangeArrowheads="1"/>
              </p:cNvSpPr>
              <p:nvPr userDrawn="1"/>
            </p:nvSpPr>
            <p:spPr bwMode="auto">
              <a:xfrm>
                <a:off x="3286" y="1950"/>
                <a:ext cx="16" cy="19"/>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Rectangle 35"/>
              <p:cNvSpPr>
                <a:spLocks noChangeArrowheads="1"/>
              </p:cNvSpPr>
              <p:nvPr userDrawn="1"/>
            </p:nvSpPr>
            <p:spPr bwMode="auto">
              <a:xfrm>
                <a:off x="3286" y="2268"/>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Rectangle 36"/>
              <p:cNvSpPr>
                <a:spLocks noChangeArrowheads="1"/>
              </p:cNvSpPr>
              <p:nvPr userDrawn="1"/>
            </p:nvSpPr>
            <p:spPr bwMode="auto">
              <a:xfrm>
                <a:off x="3286" y="1989"/>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Rectangle 37"/>
              <p:cNvSpPr>
                <a:spLocks noChangeArrowheads="1"/>
              </p:cNvSpPr>
              <p:nvPr userDrawn="1"/>
            </p:nvSpPr>
            <p:spPr bwMode="auto">
              <a:xfrm>
                <a:off x="3286" y="2627"/>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Rectangle 38"/>
              <p:cNvSpPr>
                <a:spLocks noChangeArrowheads="1"/>
              </p:cNvSpPr>
              <p:nvPr userDrawn="1"/>
            </p:nvSpPr>
            <p:spPr bwMode="auto">
              <a:xfrm>
                <a:off x="3286" y="2587"/>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Rectangle 39"/>
              <p:cNvSpPr>
                <a:spLocks noChangeArrowheads="1"/>
              </p:cNvSpPr>
              <p:nvPr userDrawn="1"/>
            </p:nvSpPr>
            <p:spPr bwMode="auto">
              <a:xfrm>
                <a:off x="3286" y="2667"/>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Rectangle 40"/>
              <p:cNvSpPr>
                <a:spLocks noChangeArrowheads="1"/>
              </p:cNvSpPr>
              <p:nvPr userDrawn="1"/>
            </p:nvSpPr>
            <p:spPr bwMode="auto">
              <a:xfrm>
                <a:off x="3286" y="2707"/>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Rectangle 41"/>
              <p:cNvSpPr>
                <a:spLocks noChangeArrowheads="1"/>
              </p:cNvSpPr>
              <p:nvPr userDrawn="1"/>
            </p:nvSpPr>
            <p:spPr bwMode="auto">
              <a:xfrm>
                <a:off x="3286" y="2308"/>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Rectangle 42"/>
              <p:cNvSpPr>
                <a:spLocks noChangeArrowheads="1"/>
              </p:cNvSpPr>
              <p:nvPr userDrawn="1"/>
            </p:nvSpPr>
            <p:spPr bwMode="auto">
              <a:xfrm>
                <a:off x="3286" y="2547"/>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Rectangle 43"/>
              <p:cNvSpPr>
                <a:spLocks noChangeArrowheads="1"/>
              </p:cNvSpPr>
              <p:nvPr userDrawn="1"/>
            </p:nvSpPr>
            <p:spPr bwMode="auto">
              <a:xfrm>
                <a:off x="3286" y="2747"/>
                <a:ext cx="16" cy="19"/>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Rectangle 44"/>
              <p:cNvSpPr>
                <a:spLocks noChangeArrowheads="1"/>
              </p:cNvSpPr>
              <p:nvPr userDrawn="1"/>
            </p:nvSpPr>
            <p:spPr bwMode="auto">
              <a:xfrm>
                <a:off x="3286" y="2507"/>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Rectangle 45"/>
              <p:cNvSpPr>
                <a:spLocks noChangeArrowheads="1"/>
              </p:cNvSpPr>
              <p:nvPr userDrawn="1"/>
            </p:nvSpPr>
            <p:spPr bwMode="auto">
              <a:xfrm>
                <a:off x="3286" y="2388"/>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Rectangle 46"/>
              <p:cNvSpPr>
                <a:spLocks noChangeArrowheads="1"/>
              </p:cNvSpPr>
              <p:nvPr userDrawn="1"/>
            </p:nvSpPr>
            <p:spPr bwMode="auto">
              <a:xfrm>
                <a:off x="3286" y="2348"/>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Rectangle 47"/>
              <p:cNvSpPr>
                <a:spLocks noChangeArrowheads="1"/>
              </p:cNvSpPr>
              <p:nvPr userDrawn="1"/>
            </p:nvSpPr>
            <p:spPr bwMode="auto">
              <a:xfrm>
                <a:off x="3286" y="2428"/>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Rectangle 48"/>
              <p:cNvSpPr>
                <a:spLocks noChangeArrowheads="1"/>
              </p:cNvSpPr>
              <p:nvPr userDrawn="1"/>
            </p:nvSpPr>
            <p:spPr bwMode="auto">
              <a:xfrm>
                <a:off x="3286" y="2468"/>
                <a:ext cx="16" cy="2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Rectangle 49"/>
              <p:cNvSpPr>
                <a:spLocks noChangeArrowheads="1"/>
              </p:cNvSpPr>
              <p:nvPr userDrawn="1"/>
            </p:nvSpPr>
            <p:spPr bwMode="auto">
              <a:xfrm>
                <a:off x="3244" y="2786"/>
                <a:ext cx="100" cy="1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Rectangle 50"/>
              <p:cNvSpPr>
                <a:spLocks noChangeArrowheads="1"/>
              </p:cNvSpPr>
              <p:nvPr userDrawn="1"/>
            </p:nvSpPr>
            <p:spPr bwMode="auto">
              <a:xfrm>
                <a:off x="3244" y="1754"/>
                <a:ext cx="100" cy="1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Rectangle 51"/>
              <p:cNvSpPr>
                <a:spLocks noChangeArrowheads="1"/>
              </p:cNvSpPr>
              <p:nvPr userDrawn="1"/>
            </p:nvSpPr>
            <p:spPr bwMode="auto">
              <a:xfrm>
                <a:off x="4131" y="2135"/>
                <a:ext cx="21" cy="1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Rectangle 52"/>
              <p:cNvSpPr>
                <a:spLocks noChangeArrowheads="1"/>
              </p:cNvSpPr>
              <p:nvPr userDrawn="1"/>
            </p:nvSpPr>
            <p:spPr bwMode="auto">
              <a:xfrm>
                <a:off x="4172" y="2135"/>
                <a:ext cx="21" cy="1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Rectangle 53"/>
              <p:cNvSpPr>
                <a:spLocks noChangeArrowheads="1"/>
              </p:cNvSpPr>
              <p:nvPr userDrawn="1"/>
            </p:nvSpPr>
            <p:spPr bwMode="auto">
              <a:xfrm>
                <a:off x="4089" y="2135"/>
                <a:ext cx="21" cy="1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Rectangle 54"/>
              <p:cNvSpPr>
                <a:spLocks noChangeArrowheads="1"/>
              </p:cNvSpPr>
              <p:nvPr userDrawn="1"/>
            </p:nvSpPr>
            <p:spPr bwMode="auto">
              <a:xfrm>
                <a:off x="3965" y="2135"/>
                <a:ext cx="21" cy="1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Rectangle 55"/>
              <p:cNvSpPr>
                <a:spLocks noChangeArrowheads="1"/>
              </p:cNvSpPr>
              <p:nvPr userDrawn="1"/>
            </p:nvSpPr>
            <p:spPr bwMode="auto">
              <a:xfrm>
                <a:off x="4048" y="2135"/>
                <a:ext cx="21" cy="1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Rectangle 56"/>
              <p:cNvSpPr>
                <a:spLocks noChangeArrowheads="1"/>
              </p:cNvSpPr>
              <p:nvPr userDrawn="1"/>
            </p:nvSpPr>
            <p:spPr bwMode="auto">
              <a:xfrm>
                <a:off x="4007" y="2135"/>
                <a:ext cx="20" cy="1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Rectangle 57"/>
              <p:cNvSpPr>
                <a:spLocks noChangeArrowheads="1"/>
              </p:cNvSpPr>
              <p:nvPr userDrawn="1"/>
            </p:nvSpPr>
            <p:spPr bwMode="auto">
              <a:xfrm>
                <a:off x="4421" y="2135"/>
                <a:ext cx="21" cy="1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Rectangle 58"/>
              <p:cNvSpPr>
                <a:spLocks noChangeArrowheads="1"/>
              </p:cNvSpPr>
              <p:nvPr userDrawn="1"/>
            </p:nvSpPr>
            <p:spPr bwMode="auto">
              <a:xfrm>
                <a:off x="4463" y="2135"/>
                <a:ext cx="20" cy="1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Rectangle 59"/>
              <p:cNvSpPr>
                <a:spLocks noChangeArrowheads="1"/>
              </p:cNvSpPr>
              <p:nvPr userDrawn="1"/>
            </p:nvSpPr>
            <p:spPr bwMode="auto">
              <a:xfrm>
                <a:off x="4255" y="2135"/>
                <a:ext cx="21" cy="1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Rectangle 60"/>
              <p:cNvSpPr>
                <a:spLocks noChangeArrowheads="1"/>
              </p:cNvSpPr>
              <p:nvPr userDrawn="1"/>
            </p:nvSpPr>
            <p:spPr bwMode="auto">
              <a:xfrm>
                <a:off x="4379" y="2135"/>
                <a:ext cx="21" cy="1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Rectangle 61"/>
              <p:cNvSpPr>
                <a:spLocks noChangeArrowheads="1"/>
              </p:cNvSpPr>
              <p:nvPr userDrawn="1"/>
            </p:nvSpPr>
            <p:spPr bwMode="auto">
              <a:xfrm>
                <a:off x="4338" y="2135"/>
                <a:ext cx="21" cy="1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Rectangle 62"/>
              <p:cNvSpPr>
                <a:spLocks noChangeArrowheads="1"/>
              </p:cNvSpPr>
              <p:nvPr userDrawn="1"/>
            </p:nvSpPr>
            <p:spPr bwMode="auto">
              <a:xfrm>
                <a:off x="4297" y="2135"/>
                <a:ext cx="21" cy="1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Rectangle 63"/>
              <p:cNvSpPr>
                <a:spLocks noChangeArrowheads="1"/>
              </p:cNvSpPr>
              <p:nvPr userDrawn="1"/>
            </p:nvSpPr>
            <p:spPr bwMode="auto">
              <a:xfrm>
                <a:off x="3929" y="2091"/>
                <a:ext cx="15" cy="101"/>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Rectangle 64"/>
              <p:cNvSpPr>
                <a:spLocks noChangeArrowheads="1"/>
              </p:cNvSpPr>
              <p:nvPr userDrawn="1"/>
            </p:nvSpPr>
            <p:spPr bwMode="auto">
              <a:xfrm>
                <a:off x="4504" y="2091"/>
                <a:ext cx="16" cy="101"/>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Freeform 65"/>
              <p:cNvSpPr>
                <a:spLocks/>
              </p:cNvSpPr>
              <p:nvPr userDrawn="1"/>
            </p:nvSpPr>
            <p:spPr bwMode="auto">
              <a:xfrm>
                <a:off x="3640" y="1795"/>
                <a:ext cx="293" cy="292"/>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Freeform 66"/>
              <p:cNvSpPr>
                <a:spLocks/>
              </p:cNvSpPr>
              <p:nvPr userDrawn="1"/>
            </p:nvSpPr>
            <p:spPr bwMode="auto">
              <a:xfrm>
                <a:off x="3318" y="2799"/>
                <a:ext cx="69" cy="70"/>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Freeform 67"/>
              <p:cNvSpPr>
                <a:spLocks/>
              </p:cNvSpPr>
              <p:nvPr userDrawn="1"/>
            </p:nvSpPr>
            <p:spPr bwMode="auto">
              <a:xfrm>
                <a:off x="3353" y="2544"/>
                <a:ext cx="528" cy="525"/>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Freeform 68"/>
              <p:cNvSpPr>
                <a:spLocks/>
              </p:cNvSpPr>
              <p:nvPr userDrawn="1"/>
            </p:nvSpPr>
            <p:spPr bwMode="auto">
              <a:xfrm>
                <a:off x="3401" y="2592"/>
                <a:ext cx="432" cy="429"/>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Freeform 69"/>
              <p:cNvSpPr>
                <a:spLocks/>
              </p:cNvSpPr>
              <p:nvPr userDrawn="1"/>
            </p:nvSpPr>
            <p:spPr bwMode="auto">
              <a:xfrm>
                <a:off x="4651" y="2662"/>
                <a:ext cx="245" cy="253"/>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Freeform 70"/>
              <p:cNvSpPr>
                <a:spLocks/>
              </p:cNvSpPr>
              <p:nvPr userDrawn="1"/>
            </p:nvSpPr>
            <p:spPr bwMode="auto">
              <a:xfrm>
                <a:off x="4651" y="2662"/>
                <a:ext cx="245" cy="253"/>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Freeform 71"/>
              <p:cNvSpPr>
                <a:spLocks/>
              </p:cNvSpPr>
              <p:nvPr userDrawn="1"/>
            </p:nvSpPr>
            <p:spPr bwMode="auto">
              <a:xfrm>
                <a:off x="4484" y="2699"/>
                <a:ext cx="66" cy="66"/>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Freeform 72"/>
              <p:cNvSpPr>
                <a:spLocks/>
              </p:cNvSpPr>
              <p:nvPr userDrawn="1"/>
            </p:nvSpPr>
            <p:spPr bwMode="auto">
              <a:xfrm>
                <a:off x="4535" y="2805"/>
                <a:ext cx="68" cy="66"/>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Freeform 73"/>
              <p:cNvSpPr>
                <a:spLocks/>
              </p:cNvSpPr>
              <p:nvPr userDrawn="1"/>
            </p:nvSpPr>
            <p:spPr bwMode="auto">
              <a:xfrm>
                <a:off x="4574" y="2858"/>
                <a:ext cx="68" cy="68"/>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Freeform 74"/>
              <p:cNvSpPr>
                <a:spLocks/>
              </p:cNvSpPr>
              <p:nvPr userDrawn="1"/>
            </p:nvSpPr>
            <p:spPr bwMode="auto">
              <a:xfrm>
                <a:off x="4624" y="2907"/>
                <a:ext cx="66" cy="66"/>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Freeform 75"/>
              <p:cNvSpPr>
                <a:spLocks/>
              </p:cNvSpPr>
              <p:nvPr userDrawn="1"/>
            </p:nvSpPr>
            <p:spPr bwMode="auto">
              <a:xfrm>
                <a:off x="4201" y="2167"/>
                <a:ext cx="728" cy="981"/>
              </a:xfrm>
              <a:custGeom>
                <a:avLst/>
                <a:gdLst>
                  <a:gd name="T0" fmla="*/ 139 w 728"/>
                  <a:gd name="T1" fmla="*/ 0 h 981"/>
                  <a:gd name="T2" fmla="*/ 728 w 728"/>
                  <a:gd name="T3" fmla="*/ 890 h 981"/>
                  <a:gd name="T4" fmla="*/ 588 w 728"/>
                  <a:gd name="T5" fmla="*/ 981 h 981"/>
                  <a:gd name="T6" fmla="*/ 0 w 728"/>
                  <a:gd name="T7" fmla="*/ 92 h 981"/>
                  <a:gd name="T8" fmla="*/ 139 w 728"/>
                  <a:gd name="T9" fmla="*/ 0 h 981"/>
                </a:gdLst>
                <a:ahLst/>
                <a:cxnLst>
                  <a:cxn ang="0">
                    <a:pos x="T0" y="T1"/>
                  </a:cxn>
                  <a:cxn ang="0">
                    <a:pos x="T2" y="T3"/>
                  </a:cxn>
                  <a:cxn ang="0">
                    <a:pos x="T4" y="T5"/>
                  </a:cxn>
                  <a:cxn ang="0">
                    <a:pos x="T6" y="T7"/>
                  </a:cxn>
                  <a:cxn ang="0">
                    <a:pos x="T8" y="T9"/>
                  </a:cxn>
                </a:cxnLst>
                <a:rect l="0" t="0" r="r" b="b"/>
                <a:pathLst>
                  <a:path w="728" h="981">
                    <a:moveTo>
                      <a:pt x="139" y="0"/>
                    </a:moveTo>
                    <a:lnTo>
                      <a:pt x="728" y="890"/>
                    </a:lnTo>
                    <a:lnTo>
                      <a:pt x="588" y="981"/>
                    </a:lnTo>
                    <a:lnTo>
                      <a:pt x="0" y="92"/>
                    </a:lnTo>
                    <a:lnTo>
                      <a:pt x="139"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76"/>
              <p:cNvSpPr>
                <a:spLocks/>
              </p:cNvSpPr>
              <p:nvPr userDrawn="1"/>
            </p:nvSpPr>
            <p:spPr bwMode="auto">
              <a:xfrm>
                <a:off x="4554" y="2601"/>
                <a:ext cx="458" cy="307"/>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77"/>
              <p:cNvSpPr>
                <a:spLocks/>
              </p:cNvSpPr>
              <p:nvPr userDrawn="1"/>
            </p:nvSpPr>
            <p:spPr bwMode="auto">
              <a:xfrm>
                <a:off x="4733" y="2623"/>
                <a:ext cx="511" cy="391"/>
              </a:xfrm>
              <a:custGeom>
                <a:avLst/>
                <a:gdLst>
                  <a:gd name="T0" fmla="*/ 511 w 511"/>
                  <a:gd name="T1" fmla="*/ 157 h 391"/>
                  <a:gd name="T2" fmla="*/ 0 w 511"/>
                  <a:gd name="T3" fmla="*/ 0 h 391"/>
                  <a:gd name="T4" fmla="*/ 183 w 511"/>
                  <a:gd name="T5" fmla="*/ 274 h 391"/>
                  <a:gd name="T6" fmla="*/ 486 w 511"/>
                  <a:gd name="T7" fmla="*/ 391 h 391"/>
                  <a:gd name="T8" fmla="*/ 511 w 511"/>
                  <a:gd name="T9" fmla="*/ 157 h 391"/>
                </a:gdLst>
                <a:ahLst/>
                <a:cxnLst>
                  <a:cxn ang="0">
                    <a:pos x="T0" y="T1"/>
                  </a:cxn>
                  <a:cxn ang="0">
                    <a:pos x="T2" y="T3"/>
                  </a:cxn>
                  <a:cxn ang="0">
                    <a:pos x="T4" y="T5"/>
                  </a:cxn>
                  <a:cxn ang="0">
                    <a:pos x="T6" y="T7"/>
                  </a:cxn>
                  <a:cxn ang="0">
                    <a:pos x="T8" y="T9"/>
                  </a:cxn>
                </a:cxnLst>
                <a:rect l="0" t="0" r="r" b="b"/>
                <a:pathLst>
                  <a:path w="511" h="391">
                    <a:moveTo>
                      <a:pt x="511" y="157"/>
                    </a:moveTo>
                    <a:lnTo>
                      <a:pt x="0" y="0"/>
                    </a:lnTo>
                    <a:lnTo>
                      <a:pt x="183" y="274"/>
                    </a:lnTo>
                    <a:lnTo>
                      <a:pt x="486" y="391"/>
                    </a:lnTo>
                    <a:lnTo>
                      <a:pt x="511" y="157"/>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78"/>
              <p:cNvSpPr>
                <a:spLocks/>
              </p:cNvSpPr>
              <p:nvPr userDrawn="1"/>
            </p:nvSpPr>
            <p:spPr bwMode="auto">
              <a:xfrm>
                <a:off x="4733" y="2623"/>
                <a:ext cx="511" cy="391"/>
              </a:xfrm>
              <a:custGeom>
                <a:avLst/>
                <a:gdLst>
                  <a:gd name="T0" fmla="*/ 511 w 511"/>
                  <a:gd name="T1" fmla="*/ 157 h 391"/>
                  <a:gd name="T2" fmla="*/ 0 w 511"/>
                  <a:gd name="T3" fmla="*/ 0 h 391"/>
                  <a:gd name="T4" fmla="*/ 183 w 511"/>
                  <a:gd name="T5" fmla="*/ 274 h 391"/>
                  <a:gd name="T6" fmla="*/ 486 w 511"/>
                  <a:gd name="T7" fmla="*/ 391 h 391"/>
                  <a:gd name="T8" fmla="*/ 511 w 511"/>
                  <a:gd name="T9" fmla="*/ 157 h 391"/>
                </a:gdLst>
                <a:ahLst/>
                <a:cxnLst>
                  <a:cxn ang="0">
                    <a:pos x="T0" y="T1"/>
                  </a:cxn>
                  <a:cxn ang="0">
                    <a:pos x="T2" y="T3"/>
                  </a:cxn>
                  <a:cxn ang="0">
                    <a:pos x="T4" y="T5"/>
                  </a:cxn>
                  <a:cxn ang="0">
                    <a:pos x="T6" y="T7"/>
                  </a:cxn>
                  <a:cxn ang="0">
                    <a:pos x="T8" y="T9"/>
                  </a:cxn>
                </a:cxnLst>
                <a:rect l="0" t="0" r="r" b="b"/>
                <a:pathLst>
                  <a:path w="511" h="391">
                    <a:moveTo>
                      <a:pt x="511" y="157"/>
                    </a:moveTo>
                    <a:lnTo>
                      <a:pt x="0" y="0"/>
                    </a:lnTo>
                    <a:lnTo>
                      <a:pt x="183" y="274"/>
                    </a:lnTo>
                    <a:lnTo>
                      <a:pt x="486" y="391"/>
                    </a:lnTo>
                    <a:lnTo>
                      <a:pt x="511" y="1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79"/>
              <p:cNvSpPr>
                <a:spLocks/>
              </p:cNvSpPr>
              <p:nvPr userDrawn="1"/>
            </p:nvSpPr>
            <p:spPr bwMode="auto">
              <a:xfrm>
                <a:off x="5041" y="2713"/>
                <a:ext cx="227" cy="347"/>
              </a:xfrm>
              <a:custGeom>
                <a:avLst/>
                <a:gdLst>
                  <a:gd name="T0" fmla="*/ 227 w 227"/>
                  <a:gd name="T1" fmla="*/ 65 h 347"/>
                  <a:gd name="T2" fmla="*/ 31 w 227"/>
                  <a:gd name="T3" fmla="*/ 0 h 347"/>
                  <a:gd name="T4" fmla="*/ 0 w 227"/>
                  <a:gd name="T5" fmla="*/ 252 h 347"/>
                  <a:gd name="T6" fmla="*/ 227 w 227"/>
                  <a:gd name="T7" fmla="*/ 347 h 347"/>
                  <a:gd name="T8" fmla="*/ 227 w 227"/>
                  <a:gd name="T9" fmla="*/ 65 h 347"/>
                </a:gdLst>
                <a:ahLst/>
                <a:cxnLst>
                  <a:cxn ang="0">
                    <a:pos x="T0" y="T1"/>
                  </a:cxn>
                  <a:cxn ang="0">
                    <a:pos x="T2" y="T3"/>
                  </a:cxn>
                  <a:cxn ang="0">
                    <a:pos x="T4" y="T5"/>
                  </a:cxn>
                  <a:cxn ang="0">
                    <a:pos x="T6" y="T7"/>
                  </a:cxn>
                  <a:cxn ang="0">
                    <a:pos x="T8" y="T9"/>
                  </a:cxn>
                </a:cxnLst>
                <a:rect l="0" t="0" r="r" b="b"/>
                <a:pathLst>
                  <a:path w="227" h="347">
                    <a:moveTo>
                      <a:pt x="227" y="65"/>
                    </a:moveTo>
                    <a:lnTo>
                      <a:pt x="31" y="0"/>
                    </a:lnTo>
                    <a:lnTo>
                      <a:pt x="0" y="252"/>
                    </a:lnTo>
                    <a:lnTo>
                      <a:pt x="227" y="347"/>
                    </a:lnTo>
                    <a:lnTo>
                      <a:pt x="227" y="65"/>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80"/>
              <p:cNvSpPr>
                <a:spLocks/>
              </p:cNvSpPr>
              <p:nvPr userDrawn="1"/>
            </p:nvSpPr>
            <p:spPr bwMode="auto">
              <a:xfrm>
                <a:off x="5041" y="2713"/>
                <a:ext cx="227" cy="347"/>
              </a:xfrm>
              <a:custGeom>
                <a:avLst/>
                <a:gdLst>
                  <a:gd name="T0" fmla="*/ 227 w 227"/>
                  <a:gd name="T1" fmla="*/ 65 h 347"/>
                  <a:gd name="T2" fmla="*/ 31 w 227"/>
                  <a:gd name="T3" fmla="*/ 0 h 347"/>
                  <a:gd name="T4" fmla="*/ 0 w 227"/>
                  <a:gd name="T5" fmla="*/ 252 h 347"/>
                  <a:gd name="T6" fmla="*/ 227 w 227"/>
                  <a:gd name="T7" fmla="*/ 347 h 347"/>
                  <a:gd name="T8" fmla="*/ 227 w 227"/>
                  <a:gd name="T9" fmla="*/ 65 h 347"/>
                </a:gdLst>
                <a:ahLst/>
                <a:cxnLst>
                  <a:cxn ang="0">
                    <a:pos x="T0" y="T1"/>
                  </a:cxn>
                  <a:cxn ang="0">
                    <a:pos x="T2" y="T3"/>
                  </a:cxn>
                  <a:cxn ang="0">
                    <a:pos x="T4" y="T5"/>
                  </a:cxn>
                  <a:cxn ang="0">
                    <a:pos x="T6" y="T7"/>
                  </a:cxn>
                  <a:cxn ang="0">
                    <a:pos x="T8" y="T9"/>
                  </a:cxn>
                </a:cxnLst>
                <a:rect l="0" t="0" r="r" b="b"/>
                <a:pathLst>
                  <a:path w="227" h="347">
                    <a:moveTo>
                      <a:pt x="227" y="65"/>
                    </a:moveTo>
                    <a:lnTo>
                      <a:pt x="31" y="0"/>
                    </a:lnTo>
                    <a:lnTo>
                      <a:pt x="0" y="252"/>
                    </a:lnTo>
                    <a:lnTo>
                      <a:pt x="227" y="347"/>
                    </a:lnTo>
                    <a:lnTo>
                      <a:pt x="227"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81"/>
              <p:cNvSpPr>
                <a:spLocks/>
              </p:cNvSpPr>
              <p:nvPr userDrawn="1"/>
            </p:nvSpPr>
            <p:spPr bwMode="auto">
              <a:xfrm>
                <a:off x="5041" y="2946"/>
                <a:ext cx="2" cy="19"/>
              </a:xfrm>
              <a:custGeom>
                <a:avLst/>
                <a:gdLst>
                  <a:gd name="T0" fmla="*/ 2 w 2"/>
                  <a:gd name="T1" fmla="*/ 0 h 19"/>
                  <a:gd name="T2" fmla="*/ 0 w 2"/>
                  <a:gd name="T3" fmla="*/ 19 h 19"/>
                  <a:gd name="T4" fmla="*/ 2 w 2"/>
                  <a:gd name="T5" fmla="*/ 0 h 19"/>
                  <a:gd name="T6" fmla="*/ 2 w 2"/>
                  <a:gd name="T7" fmla="*/ 0 h 19"/>
                </a:gdLst>
                <a:ahLst/>
                <a:cxnLst>
                  <a:cxn ang="0">
                    <a:pos x="T0" y="T1"/>
                  </a:cxn>
                  <a:cxn ang="0">
                    <a:pos x="T2" y="T3"/>
                  </a:cxn>
                  <a:cxn ang="0">
                    <a:pos x="T4" y="T5"/>
                  </a:cxn>
                  <a:cxn ang="0">
                    <a:pos x="T6" y="T7"/>
                  </a:cxn>
                </a:cxnLst>
                <a:rect l="0" t="0" r="r" b="b"/>
                <a:pathLst>
                  <a:path w="2" h="19">
                    <a:moveTo>
                      <a:pt x="2" y="0"/>
                    </a:moveTo>
                    <a:lnTo>
                      <a:pt x="0" y="19"/>
                    </a:lnTo>
                    <a:lnTo>
                      <a:pt x="2" y="0"/>
                    </a:lnTo>
                    <a:lnTo>
                      <a:pt x="2"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82"/>
              <p:cNvSpPr>
                <a:spLocks/>
              </p:cNvSpPr>
              <p:nvPr userDrawn="1"/>
            </p:nvSpPr>
            <p:spPr bwMode="auto">
              <a:xfrm>
                <a:off x="5041" y="2946"/>
                <a:ext cx="2" cy="19"/>
              </a:xfrm>
              <a:custGeom>
                <a:avLst/>
                <a:gdLst>
                  <a:gd name="T0" fmla="*/ 2 w 2"/>
                  <a:gd name="T1" fmla="*/ 0 h 19"/>
                  <a:gd name="T2" fmla="*/ 0 w 2"/>
                  <a:gd name="T3" fmla="*/ 19 h 19"/>
                  <a:gd name="T4" fmla="*/ 2 w 2"/>
                  <a:gd name="T5" fmla="*/ 0 h 19"/>
                  <a:gd name="T6" fmla="*/ 2 w 2"/>
                  <a:gd name="T7" fmla="*/ 0 h 19"/>
                </a:gdLst>
                <a:ahLst/>
                <a:cxnLst>
                  <a:cxn ang="0">
                    <a:pos x="T0" y="T1"/>
                  </a:cxn>
                  <a:cxn ang="0">
                    <a:pos x="T2" y="T3"/>
                  </a:cxn>
                  <a:cxn ang="0">
                    <a:pos x="T4" y="T5"/>
                  </a:cxn>
                  <a:cxn ang="0">
                    <a:pos x="T6" y="T7"/>
                  </a:cxn>
                </a:cxnLst>
                <a:rect l="0" t="0" r="r" b="b"/>
                <a:pathLst>
                  <a:path w="2" h="19">
                    <a:moveTo>
                      <a:pt x="2" y="0"/>
                    </a:moveTo>
                    <a:lnTo>
                      <a:pt x="0" y="19"/>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83"/>
              <p:cNvSpPr>
                <a:spLocks/>
              </p:cNvSpPr>
              <p:nvPr userDrawn="1"/>
            </p:nvSpPr>
            <p:spPr bwMode="auto">
              <a:xfrm>
                <a:off x="5043" y="2900"/>
                <a:ext cx="5" cy="46"/>
              </a:xfrm>
              <a:custGeom>
                <a:avLst/>
                <a:gdLst>
                  <a:gd name="T0" fmla="*/ 5 w 5"/>
                  <a:gd name="T1" fmla="*/ 0 h 46"/>
                  <a:gd name="T2" fmla="*/ 0 w 5"/>
                  <a:gd name="T3" fmla="*/ 46 h 46"/>
                  <a:gd name="T4" fmla="*/ 0 w 5"/>
                  <a:gd name="T5" fmla="*/ 46 h 46"/>
                  <a:gd name="T6" fmla="*/ 5 w 5"/>
                  <a:gd name="T7" fmla="*/ 0 h 46"/>
                  <a:gd name="T8" fmla="*/ 5 w 5"/>
                  <a:gd name="T9" fmla="*/ 0 h 46"/>
                </a:gdLst>
                <a:ahLst/>
                <a:cxnLst>
                  <a:cxn ang="0">
                    <a:pos x="T0" y="T1"/>
                  </a:cxn>
                  <a:cxn ang="0">
                    <a:pos x="T2" y="T3"/>
                  </a:cxn>
                  <a:cxn ang="0">
                    <a:pos x="T4" y="T5"/>
                  </a:cxn>
                  <a:cxn ang="0">
                    <a:pos x="T6" y="T7"/>
                  </a:cxn>
                  <a:cxn ang="0">
                    <a:pos x="T8" y="T9"/>
                  </a:cxn>
                </a:cxnLst>
                <a:rect l="0" t="0" r="r" b="b"/>
                <a:pathLst>
                  <a:path w="5" h="46">
                    <a:moveTo>
                      <a:pt x="5" y="0"/>
                    </a:moveTo>
                    <a:lnTo>
                      <a:pt x="0" y="46"/>
                    </a:lnTo>
                    <a:lnTo>
                      <a:pt x="0" y="46"/>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84"/>
              <p:cNvSpPr>
                <a:spLocks/>
              </p:cNvSpPr>
              <p:nvPr userDrawn="1"/>
            </p:nvSpPr>
            <p:spPr bwMode="auto">
              <a:xfrm>
                <a:off x="5043" y="2900"/>
                <a:ext cx="5" cy="46"/>
              </a:xfrm>
              <a:custGeom>
                <a:avLst/>
                <a:gdLst>
                  <a:gd name="T0" fmla="*/ 5 w 5"/>
                  <a:gd name="T1" fmla="*/ 0 h 46"/>
                  <a:gd name="T2" fmla="*/ 0 w 5"/>
                  <a:gd name="T3" fmla="*/ 46 h 46"/>
                  <a:gd name="T4" fmla="*/ 0 w 5"/>
                  <a:gd name="T5" fmla="*/ 46 h 46"/>
                  <a:gd name="T6" fmla="*/ 5 w 5"/>
                  <a:gd name="T7" fmla="*/ 0 h 46"/>
                  <a:gd name="T8" fmla="*/ 5 w 5"/>
                  <a:gd name="T9" fmla="*/ 0 h 46"/>
                </a:gdLst>
                <a:ahLst/>
                <a:cxnLst>
                  <a:cxn ang="0">
                    <a:pos x="T0" y="T1"/>
                  </a:cxn>
                  <a:cxn ang="0">
                    <a:pos x="T2" y="T3"/>
                  </a:cxn>
                  <a:cxn ang="0">
                    <a:pos x="T4" y="T5"/>
                  </a:cxn>
                  <a:cxn ang="0">
                    <a:pos x="T6" y="T7"/>
                  </a:cxn>
                  <a:cxn ang="0">
                    <a:pos x="T8" y="T9"/>
                  </a:cxn>
                </a:cxnLst>
                <a:rect l="0" t="0" r="r" b="b"/>
                <a:pathLst>
                  <a:path w="5" h="46">
                    <a:moveTo>
                      <a:pt x="5" y="0"/>
                    </a:moveTo>
                    <a:lnTo>
                      <a:pt x="0" y="46"/>
                    </a:lnTo>
                    <a:lnTo>
                      <a:pt x="0" y="46"/>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Freeform 85"/>
              <p:cNvSpPr>
                <a:spLocks/>
              </p:cNvSpPr>
              <p:nvPr userDrawn="1"/>
            </p:nvSpPr>
            <p:spPr bwMode="auto">
              <a:xfrm>
                <a:off x="5041" y="2900"/>
                <a:ext cx="227" cy="160"/>
              </a:xfrm>
              <a:custGeom>
                <a:avLst/>
                <a:gdLst>
                  <a:gd name="T0" fmla="*/ 7 w 227"/>
                  <a:gd name="T1" fmla="*/ 0 h 160"/>
                  <a:gd name="T2" fmla="*/ 2 w 227"/>
                  <a:gd name="T3" fmla="*/ 46 h 160"/>
                  <a:gd name="T4" fmla="*/ 0 w 227"/>
                  <a:gd name="T5" fmla="*/ 65 h 160"/>
                  <a:gd name="T6" fmla="*/ 227 w 227"/>
                  <a:gd name="T7" fmla="*/ 160 h 160"/>
                  <a:gd name="T8" fmla="*/ 227 w 227"/>
                  <a:gd name="T9" fmla="*/ 91 h 160"/>
                  <a:gd name="T10" fmla="*/ 7 w 227"/>
                  <a:gd name="T11" fmla="*/ 0 h 160"/>
                </a:gdLst>
                <a:ahLst/>
                <a:cxnLst>
                  <a:cxn ang="0">
                    <a:pos x="T0" y="T1"/>
                  </a:cxn>
                  <a:cxn ang="0">
                    <a:pos x="T2" y="T3"/>
                  </a:cxn>
                  <a:cxn ang="0">
                    <a:pos x="T4" y="T5"/>
                  </a:cxn>
                  <a:cxn ang="0">
                    <a:pos x="T6" y="T7"/>
                  </a:cxn>
                  <a:cxn ang="0">
                    <a:pos x="T8" y="T9"/>
                  </a:cxn>
                  <a:cxn ang="0">
                    <a:pos x="T10" y="T11"/>
                  </a:cxn>
                </a:cxnLst>
                <a:rect l="0" t="0" r="r" b="b"/>
                <a:pathLst>
                  <a:path w="227" h="160">
                    <a:moveTo>
                      <a:pt x="7" y="0"/>
                    </a:moveTo>
                    <a:lnTo>
                      <a:pt x="2" y="46"/>
                    </a:lnTo>
                    <a:lnTo>
                      <a:pt x="0" y="65"/>
                    </a:lnTo>
                    <a:lnTo>
                      <a:pt x="227" y="160"/>
                    </a:lnTo>
                    <a:lnTo>
                      <a:pt x="227" y="91"/>
                    </a:lnTo>
                    <a:lnTo>
                      <a:pt x="7"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Freeform 86"/>
              <p:cNvSpPr>
                <a:spLocks/>
              </p:cNvSpPr>
              <p:nvPr userDrawn="1"/>
            </p:nvSpPr>
            <p:spPr bwMode="auto">
              <a:xfrm>
                <a:off x="5041" y="2900"/>
                <a:ext cx="227" cy="160"/>
              </a:xfrm>
              <a:custGeom>
                <a:avLst/>
                <a:gdLst>
                  <a:gd name="T0" fmla="*/ 7 w 227"/>
                  <a:gd name="T1" fmla="*/ 0 h 160"/>
                  <a:gd name="T2" fmla="*/ 2 w 227"/>
                  <a:gd name="T3" fmla="*/ 46 h 160"/>
                  <a:gd name="T4" fmla="*/ 0 w 227"/>
                  <a:gd name="T5" fmla="*/ 65 h 160"/>
                  <a:gd name="T6" fmla="*/ 227 w 227"/>
                  <a:gd name="T7" fmla="*/ 160 h 160"/>
                  <a:gd name="T8" fmla="*/ 227 w 227"/>
                  <a:gd name="T9" fmla="*/ 91 h 160"/>
                  <a:gd name="T10" fmla="*/ 7 w 227"/>
                  <a:gd name="T11" fmla="*/ 0 h 160"/>
                </a:gdLst>
                <a:ahLst/>
                <a:cxnLst>
                  <a:cxn ang="0">
                    <a:pos x="T0" y="T1"/>
                  </a:cxn>
                  <a:cxn ang="0">
                    <a:pos x="T2" y="T3"/>
                  </a:cxn>
                  <a:cxn ang="0">
                    <a:pos x="T4" y="T5"/>
                  </a:cxn>
                  <a:cxn ang="0">
                    <a:pos x="T6" y="T7"/>
                  </a:cxn>
                  <a:cxn ang="0">
                    <a:pos x="T8" y="T9"/>
                  </a:cxn>
                  <a:cxn ang="0">
                    <a:pos x="T10" y="T11"/>
                  </a:cxn>
                </a:cxnLst>
                <a:rect l="0" t="0" r="r" b="b"/>
                <a:pathLst>
                  <a:path w="227" h="160">
                    <a:moveTo>
                      <a:pt x="7" y="0"/>
                    </a:moveTo>
                    <a:lnTo>
                      <a:pt x="2" y="46"/>
                    </a:lnTo>
                    <a:lnTo>
                      <a:pt x="0" y="65"/>
                    </a:lnTo>
                    <a:lnTo>
                      <a:pt x="227" y="160"/>
                    </a:lnTo>
                    <a:lnTo>
                      <a:pt x="227" y="91"/>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Freeform 87"/>
              <p:cNvSpPr>
                <a:spLocks/>
              </p:cNvSpPr>
              <p:nvPr userDrawn="1"/>
            </p:nvSpPr>
            <p:spPr bwMode="auto">
              <a:xfrm>
                <a:off x="4220" y="1648"/>
                <a:ext cx="134" cy="238"/>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88"/>
              <p:cNvSpPr>
                <a:spLocks/>
              </p:cNvSpPr>
              <p:nvPr userDrawn="1"/>
            </p:nvSpPr>
            <p:spPr bwMode="auto">
              <a:xfrm>
                <a:off x="4220" y="1648"/>
                <a:ext cx="134" cy="238"/>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Freeform 89"/>
              <p:cNvSpPr>
                <a:spLocks/>
              </p:cNvSpPr>
              <p:nvPr userDrawn="1"/>
            </p:nvSpPr>
            <p:spPr bwMode="auto">
              <a:xfrm>
                <a:off x="4163" y="1536"/>
                <a:ext cx="524" cy="354"/>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 name="Freeform 90"/>
              <p:cNvSpPr>
                <a:spLocks/>
              </p:cNvSpPr>
              <p:nvPr userDrawn="1"/>
            </p:nvSpPr>
            <p:spPr bwMode="auto">
              <a:xfrm>
                <a:off x="4659" y="1500"/>
                <a:ext cx="118" cy="240"/>
              </a:xfrm>
              <a:custGeom>
                <a:avLst/>
                <a:gdLst>
                  <a:gd name="T0" fmla="*/ 0 w 118"/>
                  <a:gd name="T1" fmla="*/ 15 h 240"/>
                  <a:gd name="T2" fmla="*/ 11 w 118"/>
                  <a:gd name="T3" fmla="*/ 240 h 240"/>
                  <a:gd name="T4" fmla="*/ 118 w 118"/>
                  <a:gd name="T5" fmla="*/ 235 h 240"/>
                  <a:gd name="T6" fmla="*/ 107 w 118"/>
                  <a:gd name="T7" fmla="*/ 0 h 240"/>
                  <a:gd name="T8" fmla="*/ 0 w 118"/>
                  <a:gd name="T9" fmla="*/ 15 h 240"/>
                </a:gdLst>
                <a:ahLst/>
                <a:cxnLst>
                  <a:cxn ang="0">
                    <a:pos x="T0" y="T1"/>
                  </a:cxn>
                  <a:cxn ang="0">
                    <a:pos x="T2" y="T3"/>
                  </a:cxn>
                  <a:cxn ang="0">
                    <a:pos x="T4" y="T5"/>
                  </a:cxn>
                  <a:cxn ang="0">
                    <a:pos x="T6" y="T7"/>
                  </a:cxn>
                  <a:cxn ang="0">
                    <a:pos x="T8" y="T9"/>
                  </a:cxn>
                </a:cxnLst>
                <a:rect l="0" t="0" r="r" b="b"/>
                <a:pathLst>
                  <a:path w="118" h="240">
                    <a:moveTo>
                      <a:pt x="0" y="15"/>
                    </a:moveTo>
                    <a:lnTo>
                      <a:pt x="11" y="240"/>
                    </a:lnTo>
                    <a:lnTo>
                      <a:pt x="118" y="235"/>
                    </a:lnTo>
                    <a:lnTo>
                      <a:pt x="107"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91"/>
              <p:cNvSpPr>
                <a:spLocks/>
              </p:cNvSpPr>
              <p:nvPr userDrawn="1"/>
            </p:nvSpPr>
            <p:spPr bwMode="auto">
              <a:xfrm>
                <a:off x="4659" y="1500"/>
                <a:ext cx="118" cy="240"/>
              </a:xfrm>
              <a:custGeom>
                <a:avLst/>
                <a:gdLst>
                  <a:gd name="T0" fmla="*/ 0 w 118"/>
                  <a:gd name="T1" fmla="*/ 15 h 240"/>
                  <a:gd name="T2" fmla="*/ 11 w 118"/>
                  <a:gd name="T3" fmla="*/ 240 h 240"/>
                  <a:gd name="T4" fmla="*/ 118 w 118"/>
                  <a:gd name="T5" fmla="*/ 235 h 240"/>
                  <a:gd name="T6" fmla="*/ 107 w 118"/>
                  <a:gd name="T7" fmla="*/ 0 h 240"/>
                  <a:gd name="T8" fmla="*/ 0 w 118"/>
                  <a:gd name="T9" fmla="*/ 15 h 240"/>
                </a:gdLst>
                <a:ahLst/>
                <a:cxnLst>
                  <a:cxn ang="0">
                    <a:pos x="T0" y="T1"/>
                  </a:cxn>
                  <a:cxn ang="0">
                    <a:pos x="T2" y="T3"/>
                  </a:cxn>
                  <a:cxn ang="0">
                    <a:pos x="T4" y="T5"/>
                  </a:cxn>
                  <a:cxn ang="0">
                    <a:pos x="T6" y="T7"/>
                  </a:cxn>
                  <a:cxn ang="0">
                    <a:pos x="T8" y="T9"/>
                  </a:cxn>
                </a:cxnLst>
                <a:rect l="0" t="0" r="r" b="b"/>
                <a:pathLst>
                  <a:path w="118" h="240">
                    <a:moveTo>
                      <a:pt x="0" y="15"/>
                    </a:moveTo>
                    <a:lnTo>
                      <a:pt x="11" y="240"/>
                    </a:lnTo>
                    <a:lnTo>
                      <a:pt x="118" y="235"/>
                    </a:lnTo>
                    <a:lnTo>
                      <a:pt x="107"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92"/>
              <p:cNvSpPr>
                <a:spLocks/>
              </p:cNvSpPr>
              <p:nvPr userDrawn="1"/>
            </p:nvSpPr>
            <p:spPr bwMode="auto">
              <a:xfrm>
                <a:off x="4359" y="1558"/>
                <a:ext cx="108" cy="157"/>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Freeform 93"/>
              <p:cNvSpPr>
                <a:spLocks/>
              </p:cNvSpPr>
              <p:nvPr userDrawn="1"/>
            </p:nvSpPr>
            <p:spPr bwMode="auto">
              <a:xfrm>
                <a:off x="4164" y="1438"/>
                <a:ext cx="289" cy="514"/>
              </a:xfrm>
              <a:custGeom>
                <a:avLst/>
                <a:gdLst>
                  <a:gd name="T0" fmla="*/ 271 w 289"/>
                  <a:gd name="T1" fmla="*/ 0 h 514"/>
                  <a:gd name="T2" fmla="*/ 0 w 289"/>
                  <a:gd name="T3" fmla="*/ 504 h 514"/>
                  <a:gd name="T4" fmla="*/ 18 w 289"/>
                  <a:gd name="T5" fmla="*/ 514 h 514"/>
                  <a:gd name="T6" fmla="*/ 289 w 289"/>
                  <a:gd name="T7" fmla="*/ 10 h 514"/>
                  <a:gd name="T8" fmla="*/ 271 w 289"/>
                  <a:gd name="T9" fmla="*/ 0 h 514"/>
                </a:gdLst>
                <a:ahLst/>
                <a:cxnLst>
                  <a:cxn ang="0">
                    <a:pos x="T0" y="T1"/>
                  </a:cxn>
                  <a:cxn ang="0">
                    <a:pos x="T2" y="T3"/>
                  </a:cxn>
                  <a:cxn ang="0">
                    <a:pos x="T4" y="T5"/>
                  </a:cxn>
                  <a:cxn ang="0">
                    <a:pos x="T6" y="T7"/>
                  </a:cxn>
                  <a:cxn ang="0">
                    <a:pos x="T8" y="T9"/>
                  </a:cxn>
                </a:cxnLst>
                <a:rect l="0" t="0" r="r" b="b"/>
                <a:pathLst>
                  <a:path w="289" h="514">
                    <a:moveTo>
                      <a:pt x="271" y="0"/>
                    </a:moveTo>
                    <a:lnTo>
                      <a:pt x="0" y="504"/>
                    </a:lnTo>
                    <a:lnTo>
                      <a:pt x="18" y="514"/>
                    </a:lnTo>
                    <a:lnTo>
                      <a:pt x="289" y="10"/>
                    </a:lnTo>
                    <a:lnTo>
                      <a:pt x="271"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Freeform 94"/>
              <p:cNvSpPr>
                <a:spLocks/>
              </p:cNvSpPr>
              <p:nvPr userDrawn="1"/>
            </p:nvSpPr>
            <p:spPr bwMode="auto">
              <a:xfrm>
                <a:off x="4164" y="1438"/>
                <a:ext cx="325" cy="533"/>
              </a:xfrm>
              <a:custGeom>
                <a:avLst/>
                <a:gdLst>
                  <a:gd name="T0" fmla="*/ 325 w 325"/>
                  <a:gd name="T1" fmla="*/ 29 h 533"/>
                  <a:gd name="T2" fmla="*/ 289 w 325"/>
                  <a:gd name="T3" fmla="*/ 10 h 533"/>
                  <a:gd name="T4" fmla="*/ 271 w 325"/>
                  <a:gd name="T5" fmla="*/ 0 h 533"/>
                  <a:gd name="T6" fmla="*/ 0 w 325"/>
                  <a:gd name="T7" fmla="*/ 504 h 533"/>
                  <a:gd name="T8" fmla="*/ 18 w 325"/>
                  <a:gd name="T9" fmla="*/ 514 h 533"/>
                  <a:gd name="T10" fmla="*/ 54 w 325"/>
                  <a:gd name="T11" fmla="*/ 533 h 533"/>
                  <a:gd name="T12" fmla="*/ 325 w 325"/>
                  <a:gd name="T13" fmla="*/ 29 h 533"/>
                </a:gdLst>
                <a:ahLst/>
                <a:cxnLst>
                  <a:cxn ang="0">
                    <a:pos x="T0" y="T1"/>
                  </a:cxn>
                  <a:cxn ang="0">
                    <a:pos x="T2" y="T3"/>
                  </a:cxn>
                  <a:cxn ang="0">
                    <a:pos x="T4" y="T5"/>
                  </a:cxn>
                  <a:cxn ang="0">
                    <a:pos x="T6" y="T7"/>
                  </a:cxn>
                  <a:cxn ang="0">
                    <a:pos x="T8" y="T9"/>
                  </a:cxn>
                  <a:cxn ang="0">
                    <a:pos x="T10" y="T11"/>
                  </a:cxn>
                  <a:cxn ang="0">
                    <a:pos x="T12" y="T13"/>
                  </a:cxn>
                </a:cxnLst>
                <a:rect l="0" t="0" r="r" b="b"/>
                <a:pathLst>
                  <a:path w="325" h="533">
                    <a:moveTo>
                      <a:pt x="325" y="29"/>
                    </a:moveTo>
                    <a:lnTo>
                      <a:pt x="289" y="10"/>
                    </a:lnTo>
                    <a:lnTo>
                      <a:pt x="271" y="0"/>
                    </a:lnTo>
                    <a:lnTo>
                      <a:pt x="0" y="504"/>
                    </a:lnTo>
                    <a:lnTo>
                      <a:pt x="18" y="514"/>
                    </a:lnTo>
                    <a:lnTo>
                      <a:pt x="54" y="533"/>
                    </a:lnTo>
                    <a:lnTo>
                      <a:pt x="325"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95"/>
              <p:cNvSpPr>
                <a:spLocks/>
              </p:cNvSpPr>
              <p:nvPr userDrawn="1"/>
            </p:nvSpPr>
            <p:spPr bwMode="auto">
              <a:xfrm>
                <a:off x="4162" y="1942"/>
                <a:ext cx="56" cy="69"/>
              </a:xfrm>
              <a:custGeom>
                <a:avLst/>
                <a:gdLst>
                  <a:gd name="T0" fmla="*/ 2 w 56"/>
                  <a:gd name="T1" fmla="*/ 0 h 69"/>
                  <a:gd name="T2" fmla="*/ 0 w 56"/>
                  <a:gd name="T3" fmla="*/ 69 h 69"/>
                  <a:gd name="T4" fmla="*/ 56 w 56"/>
                  <a:gd name="T5" fmla="*/ 29 h 69"/>
                  <a:gd name="T6" fmla="*/ 2 w 56"/>
                  <a:gd name="T7" fmla="*/ 0 h 69"/>
                </a:gdLst>
                <a:ahLst/>
                <a:cxnLst>
                  <a:cxn ang="0">
                    <a:pos x="T0" y="T1"/>
                  </a:cxn>
                  <a:cxn ang="0">
                    <a:pos x="T2" y="T3"/>
                  </a:cxn>
                  <a:cxn ang="0">
                    <a:pos x="T4" y="T5"/>
                  </a:cxn>
                  <a:cxn ang="0">
                    <a:pos x="T6" y="T7"/>
                  </a:cxn>
                </a:cxnLst>
                <a:rect l="0" t="0" r="r" b="b"/>
                <a:pathLst>
                  <a:path w="56" h="69">
                    <a:moveTo>
                      <a:pt x="2" y="0"/>
                    </a:moveTo>
                    <a:lnTo>
                      <a:pt x="0" y="69"/>
                    </a:lnTo>
                    <a:lnTo>
                      <a:pt x="56"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96"/>
              <p:cNvSpPr>
                <a:spLocks/>
              </p:cNvSpPr>
              <p:nvPr userDrawn="1"/>
            </p:nvSpPr>
            <p:spPr bwMode="auto">
              <a:xfrm>
                <a:off x="4162" y="1976"/>
                <a:ext cx="28" cy="35"/>
              </a:xfrm>
              <a:custGeom>
                <a:avLst/>
                <a:gdLst>
                  <a:gd name="T0" fmla="*/ 28 w 28"/>
                  <a:gd name="T1" fmla="*/ 15 h 35"/>
                  <a:gd name="T2" fmla="*/ 0 w 28"/>
                  <a:gd name="T3" fmla="*/ 35 h 35"/>
                  <a:gd name="T4" fmla="*/ 1 w 28"/>
                  <a:gd name="T5" fmla="*/ 0 h 35"/>
                  <a:gd name="T6" fmla="*/ 28 w 28"/>
                  <a:gd name="T7" fmla="*/ 15 h 35"/>
                </a:gdLst>
                <a:ahLst/>
                <a:cxnLst>
                  <a:cxn ang="0">
                    <a:pos x="T0" y="T1"/>
                  </a:cxn>
                  <a:cxn ang="0">
                    <a:pos x="T2" y="T3"/>
                  </a:cxn>
                  <a:cxn ang="0">
                    <a:pos x="T4" y="T5"/>
                  </a:cxn>
                  <a:cxn ang="0">
                    <a:pos x="T6" y="T7"/>
                  </a:cxn>
                </a:cxnLst>
                <a:rect l="0" t="0" r="r" b="b"/>
                <a:pathLst>
                  <a:path w="28" h="35">
                    <a:moveTo>
                      <a:pt x="28" y="15"/>
                    </a:moveTo>
                    <a:lnTo>
                      <a:pt x="0" y="35"/>
                    </a:lnTo>
                    <a:lnTo>
                      <a:pt x="1" y="0"/>
                    </a:lnTo>
                    <a:lnTo>
                      <a:pt x="28"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Freeform 97"/>
              <p:cNvSpPr>
                <a:spLocks/>
              </p:cNvSpPr>
              <p:nvPr userDrawn="1"/>
            </p:nvSpPr>
            <p:spPr bwMode="auto">
              <a:xfrm>
                <a:off x="4453" y="1427"/>
                <a:ext cx="47" cy="40"/>
              </a:xfrm>
              <a:custGeom>
                <a:avLst/>
                <a:gdLst>
                  <a:gd name="T0" fmla="*/ 12 w 47"/>
                  <a:gd name="T1" fmla="*/ 0 h 40"/>
                  <a:gd name="T2" fmla="*/ 0 w 47"/>
                  <a:gd name="T3" fmla="*/ 21 h 40"/>
                  <a:gd name="T4" fmla="*/ 36 w 47"/>
                  <a:gd name="T5" fmla="*/ 40 h 40"/>
                  <a:gd name="T6" fmla="*/ 47 w 47"/>
                  <a:gd name="T7" fmla="*/ 19 h 40"/>
                  <a:gd name="T8" fmla="*/ 12 w 47"/>
                  <a:gd name="T9" fmla="*/ 0 h 40"/>
                </a:gdLst>
                <a:ahLst/>
                <a:cxnLst>
                  <a:cxn ang="0">
                    <a:pos x="T0" y="T1"/>
                  </a:cxn>
                  <a:cxn ang="0">
                    <a:pos x="T2" y="T3"/>
                  </a:cxn>
                  <a:cxn ang="0">
                    <a:pos x="T4" y="T5"/>
                  </a:cxn>
                  <a:cxn ang="0">
                    <a:pos x="T6" y="T7"/>
                  </a:cxn>
                  <a:cxn ang="0">
                    <a:pos x="T8" y="T9"/>
                  </a:cxn>
                </a:cxnLst>
                <a:rect l="0" t="0" r="r" b="b"/>
                <a:pathLst>
                  <a:path w="47" h="40">
                    <a:moveTo>
                      <a:pt x="12" y="0"/>
                    </a:moveTo>
                    <a:lnTo>
                      <a:pt x="0" y="21"/>
                    </a:lnTo>
                    <a:lnTo>
                      <a:pt x="36" y="40"/>
                    </a:lnTo>
                    <a:lnTo>
                      <a:pt x="47" y="19"/>
                    </a:lnTo>
                    <a:lnTo>
                      <a:pt x="1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98"/>
              <p:cNvSpPr>
                <a:spLocks/>
              </p:cNvSpPr>
              <p:nvPr userDrawn="1"/>
            </p:nvSpPr>
            <p:spPr bwMode="auto">
              <a:xfrm>
                <a:off x="4435" y="1417"/>
                <a:ext cx="30" cy="31"/>
              </a:xfrm>
              <a:custGeom>
                <a:avLst/>
                <a:gdLst>
                  <a:gd name="T0" fmla="*/ 30 w 30"/>
                  <a:gd name="T1" fmla="*/ 10 h 31"/>
                  <a:gd name="T2" fmla="*/ 18 w 30"/>
                  <a:gd name="T3" fmla="*/ 31 h 31"/>
                  <a:gd name="T4" fmla="*/ 0 w 30"/>
                  <a:gd name="T5" fmla="*/ 21 h 31"/>
                  <a:gd name="T6" fmla="*/ 12 w 30"/>
                  <a:gd name="T7" fmla="*/ 0 h 31"/>
                  <a:gd name="T8" fmla="*/ 30 w 30"/>
                  <a:gd name="T9" fmla="*/ 10 h 31"/>
                </a:gdLst>
                <a:ahLst/>
                <a:cxnLst>
                  <a:cxn ang="0">
                    <a:pos x="T0" y="T1"/>
                  </a:cxn>
                  <a:cxn ang="0">
                    <a:pos x="T2" y="T3"/>
                  </a:cxn>
                  <a:cxn ang="0">
                    <a:pos x="T4" y="T5"/>
                  </a:cxn>
                  <a:cxn ang="0">
                    <a:pos x="T6" y="T7"/>
                  </a:cxn>
                  <a:cxn ang="0">
                    <a:pos x="T8" y="T9"/>
                  </a:cxn>
                </a:cxnLst>
                <a:rect l="0" t="0" r="r" b="b"/>
                <a:pathLst>
                  <a:path w="30" h="31">
                    <a:moveTo>
                      <a:pt x="30" y="10"/>
                    </a:moveTo>
                    <a:lnTo>
                      <a:pt x="18" y="31"/>
                    </a:lnTo>
                    <a:lnTo>
                      <a:pt x="0" y="21"/>
                    </a:lnTo>
                    <a:lnTo>
                      <a:pt x="12" y="0"/>
                    </a:lnTo>
                    <a:lnTo>
                      <a:pt x="30"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99"/>
              <p:cNvSpPr>
                <a:spLocks/>
              </p:cNvSpPr>
              <p:nvPr userDrawn="1"/>
            </p:nvSpPr>
            <p:spPr bwMode="auto">
              <a:xfrm>
                <a:off x="4445" y="1383"/>
                <a:ext cx="73" cy="65"/>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100"/>
              <p:cNvSpPr>
                <a:spLocks/>
              </p:cNvSpPr>
              <p:nvPr userDrawn="1"/>
            </p:nvSpPr>
            <p:spPr bwMode="auto">
              <a:xfrm>
                <a:off x="4445" y="1383"/>
                <a:ext cx="39" cy="46"/>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101"/>
              <p:cNvSpPr>
                <a:spLocks/>
              </p:cNvSpPr>
              <p:nvPr userDrawn="1"/>
            </p:nvSpPr>
            <p:spPr bwMode="auto">
              <a:xfrm>
                <a:off x="4164" y="1438"/>
                <a:ext cx="289" cy="514"/>
              </a:xfrm>
              <a:custGeom>
                <a:avLst/>
                <a:gdLst>
                  <a:gd name="T0" fmla="*/ 271 w 289"/>
                  <a:gd name="T1" fmla="*/ 0 h 514"/>
                  <a:gd name="T2" fmla="*/ 0 w 289"/>
                  <a:gd name="T3" fmla="*/ 504 h 514"/>
                  <a:gd name="T4" fmla="*/ 18 w 289"/>
                  <a:gd name="T5" fmla="*/ 514 h 514"/>
                  <a:gd name="T6" fmla="*/ 289 w 289"/>
                  <a:gd name="T7" fmla="*/ 10 h 514"/>
                  <a:gd name="T8" fmla="*/ 271 w 289"/>
                  <a:gd name="T9" fmla="*/ 0 h 514"/>
                </a:gdLst>
                <a:ahLst/>
                <a:cxnLst>
                  <a:cxn ang="0">
                    <a:pos x="T0" y="T1"/>
                  </a:cxn>
                  <a:cxn ang="0">
                    <a:pos x="T2" y="T3"/>
                  </a:cxn>
                  <a:cxn ang="0">
                    <a:pos x="T4" y="T5"/>
                  </a:cxn>
                  <a:cxn ang="0">
                    <a:pos x="T6" y="T7"/>
                  </a:cxn>
                  <a:cxn ang="0">
                    <a:pos x="T8" y="T9"/>
                  </a:cxn>
                </a:cxnLst>
                <a:rect l="0" t="0" r="r" b="b"/>
                <a:pathLst>
                  <a:path w="289" h="514">
                    <a:moveTo>
                      <a:pt x="271" y="0"/>
                    </a:moveTo>
                    <a:lnTo>
                      <a:pt x="0" y="504"/>
                    </a:lnTo>
                    <a:lnTo>
                      <a:pt x="18" y="514"/>
                    </a:lnTo>
                    <a:lnTo>
                      <a:pt x="289" y="10"/>
                    </a:lnTo>
                    <a:lnTo>
                      <a:pt x="271"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102"/>
              <p:cNvSpPr>
                <a:spLocks/>
              </p:cNvSpPr>
              <p:nvPr userDrawn="1"/>
            </p:nvSpPr>
            <p:spPr bwMode="auto">
              <a:xfrm>
                <a:off x="4153" y="1670"/>
                <a:ext cx="96" cy="227"/>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103"/>
              <p:cNvSpPr>
                <a:spLocks/>
              </p:cNvSpPr>
              <p:nvPr userDrawn="1"/>
            </p:nvSpPr>
            <p:spPr bwMode="auto">
              <a:xfrm>
                <a:off x="4240" y="1794"/>
                <a:ext cx="297" cy="160"/>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104"/>
              <p:cNvSpPr>
                <a:spLocks/>
              </p:cNvSpPr>
              <p:nvPr userDrawn="1"/>
            </p:nvSpPr>
            <p:spPr bwMode="auto">
              <a:xfrm>
                <a:off x="4260" y="1730"/>
                <a:ext cx="387" cy="222"/>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Freeform 105"/>
              <p:cNvSpPr>
                <a:spLocks/>
              </p:cNvSpPr>
              <p:nvPr userDrawn="1"/>
            </p:nvSpPr>
            <p:spPr bwMode="auto">
              <a:xfrm>
                <a:off x="4706" y="1393"/>
                <a:ext cx="579" cy="363"/>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Freeform 106"/>
              <p:cNvSpPr>
                <a:spLocks/>
              </p:cNvSpPr>
              <p:nvPr userDrawn="1"/>
            </p:nvSpPr>
            <p:spPr bwMode="auto">
              <a:xfrm>
                <a:off x="4797" y="1707"/>
                <a:ext cx="488" cy="49"/>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Freeform 107"/>
              <p:cNvSpPr>
                <a:spLocks/>
              </p:cNvSpPr>
              <p:nvPr userDrawn="1"/>
            </p:nvSpPr>
            <p:spPr bwMode="auto">
              <a:xfrm>
                <a:off x="4739" y="1756"/>
                <a:ext cx="58"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08"/>
              <p:cNvSpPr>
                <a:spLocks/>
              </p:cNvSpPr>
              <p:nvPr userDrawn="1"/>
            </p:nvSpPr>
            <p:spPr bwMode="auto">
              <a:xfrm>
                <a:off x="4718" y="1739"/>
                <a:ext cx="21" cy="17"/>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Rectangle 109"/>
              <p:cNvSpPr>
                <a:spLocks noChangeArrowheads="1"/>
              </p:cNvSpPr>
              <p:nvPr userDrawn="1"/>
            </p:nvSpPr>
            <p:spPr bwMode="auto">
              <a:xfrm>
                <a:off x="4718" y="1722"/>
                <a:ext cx="1" cy="17"/>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Rectangle 110"/>
              <p:cNvSpPr>
                <a:spLocks noChangeArrowheads="1"/>
              </p:cNvSpPr>
              <p:nvPr userDrawn="1"/>
            </p:nvSpPr>
            <p:spPr bwMode="auto">
              <a:xfrm>
                <a:off x="4718" y="1722"/>
                <a:ext cx="1" cy="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11"/>
              <p:cNvSpPr>
                <a:spLocks/>
              </p:cNvSpPr>
              <p:nvPr userDrawn="1"/>
            </p:nvSpPr>
            <p:spPr bwMode="auto">
              <a:xfrm>
                <a:off x="4718" y="1707"/>
                <a:ext cx="567" cy="49"/>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12"/>
              <p:cNvSpPr>
                <a:spLocks noEditPoints="1"/>
              </p:cNvSpPr>
              <p:nvPr userDrawn="1"/>
            </p:nvSpPr>
            <p:spPr bwMode="auto">
              <a:xfrm>
                <a:off x="3237" y="1261"/>
                <a:ext cx="867" cy="640"/>
              </a:xfrm>
              <a:custGeom>
                <a:avLst/>
                <a:gdLst>
                  <a:gd name="T0" fmla="*/ 867 w 867"/>
                  <a:gd name="T1" fmla="*/ 221 h 640"/>
                  <a:gd name="T2" fmla="*/ 223 w 867"/>
                  <a:gd name="T3" fmla="*/ 0 h 640"/>
                  <a:gd name="T4" fmla="*/ 0 w 867"/>
                  <a:gd name="T5" fmla="*/ 640 h 640"/>
                  <a:gd name="T6" fmla="*/ 867 w 867"/>
                  <a:gd name="T7" fmla="*/ 221 h 640"/>
                  <a:gd name="T8" fmla="*/ 291 w 867"/>
                  <a:gd name="T9" fmla="*/ 134 h 640"/>
                  <a:gd name="T10" fmla="*/ 594 w 867"/>
                  <a:gd name="T11" fmla="*/ 238 h 640"/>
                  <a:gd name="T12" fmla="*/ 186 w 867"/>
                  <a:gd name="T13" fmla="*/ 434 h 640"/>
                  <a:gd name="T14" fmla="*/ 291 w 867"/>
                  <a:gd name="T15" fmla="*/ 134 h 6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640">
                    <a:moveTo>
                      <a:pt x="867" y="221"/>
                    </a:moveTo>
                    <a:lnTo>
                      <a:pt x="223" y="0"/>
                    </a:lnTo>
                    <a:lnTo>
                      <a:pt x="0" y="640"/>
                    </a:lnTo>
                    <a:lnTo>
                      <a:pt x="867" y="221"/>
                    </a:lnTo>
                    <a:close/>
                    <a:moveTo>
                      <a:pt x="291" y="134"/>
                    </a:moveTo>
                    <a:lnTo>
                      <a:pt x="594" y="238"/>
                    </a:lnTo>
                    <a:lnTo>
                      <a:pt x="186" y="434"/>
                    </a:lnTo>
                    <a:lnTo>
                      <a:pt x="291" y="134"/>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Freeform 113"/>
              <p:cNvSpPr>
                <a:spLocks noEditPoints="1"/>
              </p:cNvSpPr>
              <p:nvPr userDrawn="1"/>
            </p:nvSpPr>
            <p:spPr bwMode="auto">
              <a:xfrm>
                <a:off x="3237" y="1261"/>
                <a:ext cx="867" cy="640"/>
              </a:xfrm>
              <a:custGeom>
                <a:avLst/>
                <a:gdLst>
                  <a:gd name="T0" fmla="*/ 867 w 867"/>
                  <a:gd name="T1" fmla="*/ 221 h 640"/>
                  <a:gd name="T2" fmla="*/ 223 w 867"/>
                  <a:gd name="T3" fmla="*/ 0 h 640"/>
                  <a:gd name="T4" fmla="*/ 0 w 867"/>
                  <a:gd name="T5" fmla="*/ 640 h 640"/>
                  <a:gd name="T6" fmla="*/ 867 w 867"/>
                  <a:gd name="T7" fmla="*/ 221 h 640"/>
                  <a:gd name="T8" fmla="*/ 291 w 867"/>
                  <a:gd name="T9" fmla="*/ 134 h 640"/>
                  <a:gd name="T10" fmla="*/ 594 w 867"/>
                  <a:gd name="T11" fmla="*/ 238 h 640"/>
                  <a:gd name="T12" fmla="*/ 186 w 867"/>
                  <a:gd name="T13" fmla="*/ 434 h 640"/>
                  <a:gd name="T14" fmla="*/ 291 w 867"/>
                  <a:gd name="T15" fmla="*/ 134 h 6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640">
                    <a:moveTo>
                      <a:pt x="867" y="221"/>
                    </a:moveTo>
                    <a:lnTo>
                      <a:pt x="223" y="0"/>
                    </a:lnTo>
                    <a:lnTo>
                      <a:pt x="0" y="640"/>
                    </a:lnTo>
                    <a:lnTo>
                      <a:pt x="867" y="221"/>
                    </a:lnTo>
                    <a:moveTo>
                      <a:pt x="291" y="134"/>
                    </a:moveTo>
                    <a:lnTo>
                      <a:pt x="594" y="238"/>
                    </a:lnTo>
                    <a:lnTo>
                      <a:pt x="186" y="434"/>
                    </a:lnTo>
                    <a:lnTo>
                      <a:pt x="291" y="1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14"/>
              <p:cNvSpPr>
                <a:spLocks/>
              </p:cNvSpPr>
              <p:nvPr userDrawn="1"/>
            </p:nvSpPr>
            <p:spPr bwMode="auto">
              <a:xfrm>
                <a:off x="3257" y="1847"/>
                <a:ext cx="33" cy="37"/>
              </a:xfrm>
              <a:custGeom>
                <a:avLst/>
                <a:gdLst>
                  <a:gd name="T0" fmla="*/ 33 w 33"/>
                  <a:gd name="T1" fmla="*/ 28 h 37"/>
                  <a:gd name="T2" fmla="*/ 14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15"/>
              <p:cNvSpPr>
                <a:spLocks/>
              </p:cNvSpPr>
              <p:nvPr userDrawn="1"/>
            </p:nvSpPr>
            <p:spPr bwMode="auto">
              <a:xfrm>
                <a:off x="3294" y="1830"/>
                <a:ext cx="32" cy="36"/>
              </a:xfrm>
              <a:custGeom>
                <a:avLst/>
                <a:gdLst>
                  <a:gd name="T0" fmla="*/ 32 w 32"/>
                  <a:gd name="T1" fmla="*/ 27 h 36"/>
                  <a:gd name="T2" fmla="*/ 15 w 32"/>
                  <a:gd name="T3" fmla="*/ 36 h 36"/>
                  <a:gd name="T4" fmla="*/ 0 w 32"/>
                  <a:gd name="T5" fmla="*/ 9 h 36"/>
                  <a:gd name="T6" fmla="*/ 19 w 32"/>
                  <a:gd name="T7" fmla="*/ 0 h 36"/>
                  <a:gd name="T8" fmla="*/ 32 w 32"/>
                  <a:gd name="T9" fmla="*/ 27 h 36"/>
                </a:gdLst>
                <a:ahLst/>
                <a:cxnLst>
                  <a:cxn ang="0">
                    <a:pos x="T0" y="T1"/>
                  </a:cxn>
                  <a:cxn ang="0">
                    <a:pos x="T2" y="T3"/>
                  </a:cxn>
                  <a:cxn ang="0">
                    <a:pos x="T4" y="T5"/>
                  </a:cxn>
                  <a:cxn ang="0">
                    <a:pos x="T6" y="T7"/>
                  </a:cxn>
                  <a:cxn ang="0">
                    <a:pos x="T8" y="T9"/>
                  </a:cxn>
                </a:cxnLst>
                <a:rect l="0" t="0" r="r" b="b"/>
                <a:pathLst>
                  <a:path w="32" h="36">
                    <a:moveTo>
                      <a:pt x="32" y="27"/>
                    </a:moveTo>
                    <a:lnTo>
                      <a:pt x="15" y="36"/>
                    </a:lnTo>
                    <a:lnTo>
                      <a:pt x="0" y="9"/>
                    </a:lnTo>
                    <a:lnTo>
                      <a:pt x="19" y="0"/>
                    </a:lnTo>
                    <a:lnTo>
                      <a:pt x="32" y="27"/>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16"/>
              <p:cNvSpPr>
                <a:spLocks/>
              </p:cNvSpPr>
              <p:nvPr userDrawn="1"/>
            </p:nvSpPr>
            <p:spPr bwMode="auto">
              <a:xfrm>
                <a:off x="3332" y="1812"/>
                <a:ext cx="31" cy="37"/>
              </a:xfrm>
              <a:custGeom>
                <a:avLst/>
                <a:gdLst>
                  <a:gd name="T0" fmla="*/ 31 w 31"/>
                  <a:gd name="T1" fmla="*/ 28 h 37"/>
                  <a:gd name="T2" fmla="*/ 13 w 31"/>
                  <a:gd name="T3" fmla="*/ 37 h 37"/>
                  <a:gd name="T4" fmla="*/ 0 w 31"/>
                  <a:gd name="T5" fmla="*/ 9 h 37"/>
                  <a:gd name="T6" fmla="*/ 18 w 31"/>
                  <a:gd name="T7" fmla="*/ 0 h 37"/>
                  <a:gd name="T8" fmla="*/ 31 w 31"/>
                  <a:gd name="T9" fmla="*/ 28 h 37"/>
                </a:gdLst>
                <a:ahLst/>
                <a:cxnLst>
                  <a:cxn ang="0">
                    <a:pos x="T0" y="T1"/>
                  </a:cxn>
                  <a:cxn ang="0">
                    <a:pos x="T2" y="T3"/>
                  </a:cxn>
                  <a:cxn ang="0">
                    <a:pos x="T4" y="T5"/>
                  </a:cxn>
                  <a:cxn ang="0">
                    <a:pos x="T6" y="T7"/>
                  </a:cxn>
                  <a:cxn ang="0">
                    <a:pos x="T8" y="T9"/>
                  </a:cxn>
                </a:cxnLst>
                <a:rect l="0" t="0" r="r" b="b"/>
                <a:pathLst>
                  <a:path w="31" h="37">
                    <a:moveTo>
                      <a:pt x="31" y="28"/>
                    </a:moveTo>
                    <a:lnTo>
                      <a:pt x="13" y="37"/>
                    </a:lnTo>
                    <a:lnTo>
                      <a:pt x="0" y="9"/>
                    </a:lnTo>
                    <a:lnTo>
                      <a:pt x="18" y="0"/>
                    </a:lnTo>
                    <a:lnTo>
                      <a:pt x="31"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17"/>
              <p:cNvSpPr>
                <a:spLocks/>
              </p:cNvSpPr>
              <p:nvPr userDrawn="1"/>
            </p:nvSpPr>
            <p:spPr bwMode="auto">
              <a:xfrm>
                <a:off x="3369" y="1794"/>
                <a:ext cx="32" cy="37"/>
              </a:xfrm>
              <a:custGeom>
                <a:avLst/>
                <a:gdLst>
                  <a:gd name="T0" fmla="*/ 32 w 32"/>
                  <a:gd name="T1" fmla="*/ 28 h 37"/>
                  <a:gd name="T2" fmla="*/ 13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3"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18"/>
              <p:cNvSpPr>
                <a:spLocks/>
              </p:cNvSpPr>
              <p:nvPr userDrawn="1"/>
            </p:nvSpPr>
            <p:spPr bwMode="auto">
              <a:xfrm>
                <a:off x="3406" y="1775"/>
                <a:ext cx="32" cy="38"/>
              </a:xfrm>
              <a:custGeom>
                <a:avLst/>
                <a:gdLst>
                  <a:gd name="T0" fmla="*/ 32 w 32"/>
                  <a:gd name="T1" fmla="*/ 29 h 38"/>
                  <a:gd name="T2" fmla="*/ 13 w 32"/>
                  <a:gd name="T3" fmla="*/ 38 h 38"/>
                  <a:gd name="T4" fmla="*/ 0 w 32"/>
                  <a:gd name="T5" fmla="*/ 9 h 38"/>
                  <a:gd name="T6" fmla="*/ 19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9"/>
                    </a:lnTo>
                    <a:lnTo>
                      <a:pt x="19"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Freeform 119"/>
              <p:cNvSpPr>
                <a:spLocks/>
              </p:cNvSpPr>
              <p:nvPr userDrawn="1"/>
            </p:nvSpPr>
            <p:spPr bwMode="auto">
              <a:xfrm>
                <a:off x="3444" y="1758"/>
                <a:ext cx="31" cy="36"/>
              </a:xfrm>
              <a:custGeom>
                <a:avLst/>
                <a:gdLst>
                  <a:gd name="T0" fmla="*/ 31 w 31"/>
                  <a:gd name="T1" fmla="*/ 27 h 36"/>
                  <a:gd name="T2" fmla="*/ 13 w 31"/>
                  <a:gd name="T3" fmla="*/ 36 h 36"/>
                  <a:gd name="T4" fmla="*/ 0 w 31"/>
                  <a:gd name="T5" fmla="*/ 8 h 36"/>
                  <a:gd name="T6" fmla="*/ 17 w 31"/>
                  <a:gd name="T7" fmla="*/ 0 h 36"/>
                  <a:gd name="T8" fmla="*/ 31 w 31"/>
                  <a:gd name="T9" fmla="*/ 27 h 36"/>
                </a:gdLst>
                <a:ahLst/>
                <a:cxnLst>
                  <a:cxn ang="0">
                    <a:pos x="T0" y="T1"/>
                  </a:cxn>
                  <a:cxn ang="0">
                    <a:pos x="T2" y="T3"/>
                  </a:cxn>
                  <a:cxn ang="0">
                    <a:pos x="T4" y="T5"/>
                  </a:cxn>
                  <a:cxn ang="0">
                    <a:pos x="T6" y="T7"/>
                  </a:cxn>
                  <a:cxn ang="0">
                    <a:pos x="T8" y="T9"/>
                  </a:cxn>
                </a:cxnLst>
                <a:rect l="0" t="0" r="r" b="b"/>
                <a:pathLst>
                  <a:path w="31" h="36">
                    <a:moveTo>
                      <a:pt x="31" y="27"/>
                    </a:moveTo>
                    <a:lnTo>
                      <a:pt x="13" y="36"/>
                    </a:lnTo>
                    <a:lnTo>
                      <a:pt x="0" y="8"/>
                    </a:lnTo>
                    <a:lnTo>
                      <a:pt x="17" y="0"/>
                    </a:lnTo>
                    <a:lnTo>
                      <a:pt x="31" y="27"/>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Freeform 120"/>
              <p:cNvSpPr>
                <a:spLocks/>
              </p:cNvSpPr>
              <p:nvPr userDrawn="1"/>
            </p:nvSpPr>
            <p:spPr bwMode="auto">
              <a:xfrm>
                <a:off x="3480" y="1740"/>
                <a:ext cx="33" cy="36"/>
              </a:xfrm>
              <a:custGeom>
                <a:avLst/>
                <a:gdLst>
                  <a:gd name="T0" fmla="*/ 33 w 33"/>
                  <a:gd name="T1" fmla="*/ 28 h 36"/>
                  <a:gd name="T2" fmla="*/ 14 w 33"/>
                  <a:gd name="T3" fmla="*/ 36 h 36"/>
                  <a:gd name="T4" fmla="*/ 0 w 33"/>
                  <a:gd name="T5" fmla="*/ 9 h 36"/>
                  <a:gd name="T6" fmla="*/ 18 w 33"/>
                  <a:gd name="T7" fmla="*/ 0 h 36"/>
                  <a:gd name="T8" fmla="*/ 33 w 33"/>
                  <a:gd name="T9" fmla="*/ 28 h 36"/>
                </a:gdLst>
                <a:ahLst/>
                <a:cxnLst>
                  <a:cxn ang="0">
                    <a:pos x="T0" y="T1"/>
                  </a:cxn>
                  <a:cxn ang="0">
                    <a:pos x="T2" y="T3"/>
                  </a:cxn>
                  <a:cxn ang="0">
                    <a:pos x="T4" y="T5"/>
                  </a:cxn>
                  <a:cxn ang="0">
                    <a:pos x="T6" y="T7"/>
                  </a:cxn>
                  <a:cxn ang="0">
                    <a:pos x="T8" y="T9"/>
                  </a:cxn>
                </a:cxnLst>
                <a:rect l="0" t="0" r="r" b="b"/>
                <a:pathLst>
                  <a:path w="33" h="36">
                    <a:moveTo>
                      <a:pt x="33" y="28"/>
                    </a:moveTo>
                    <a:lnTo>
                      <a:pt x="14" y="36"/>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Freeform 121"/>
              <p:cNvSpPr>
                <a:spLocks/>
              </p:cNvSpPr>
              <p:nvPr userDrawn="1"/>
            </p:nvSpPr>
            <p:spPr bwMode="auto">
              <a:xfrm>
                <a:off x="3517" y="1722"/>
                <a:ext cx="33" cy="37"/>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Freeform 122"/>
              <p:cNvSpPr>
                <a:spLocks/>
              </p:cNvSpPr>
              <p:nvPr userDrawn="1"/>
            </p:nvSpPr>
            <p:spPr bwMode="auto">
              <a:xfrm>
                <a:off x="3555" y="1704"/>
                <a:ext cx="31" cy="37"/>
              </a:xfrm>
              <a:custGeom>
                <a:avLst/>
                <a:gdLst>
                  <a:gd name="T0" fmla="*/ 31 w 31"/>
                  <a:gd name="T1" fmla="*/ 28 h 37"/>
                  <a:gd name="T2" fmla="*/ 13 w 31"/>
                  <a:gd name="T3" fmla="*/ 37 h 37"/>
                  <a:gd name="T4" fmla="*/ 0 w 31"/>
                  <a:gd name="T5" fmla="*/ 9 h 37"/>
                  <a:gd name="T6" fmla="*/ 18 w 31"/>
                  <a:gd name="T7" fmla="*/ 0 h 37"/>
                  <a:gd name="T8" fmla="*/ 31 w 31"/>
                  <a:gd name="T9" fmla="*/ 28 h 37"/>
                </a:gdLst>
                <a:ahLst/>
                <a:cxnLst>
                  <a:cxn ang="0">
                    <a:pos x="T0" y="T1"/>
                  </a:cxn>
                  <a:cxn ang="0">
                    <a:pos x="T2" y="T3"/>
                  </a:cxn>
                  <a:cxn ang="0">
                    <a:pos x="T4" y="T5"/>
                  </a:cxn>
                  <a:cxn ang="0">
                    <a:pos x="T6" y="T7"/>
                  </a:cxn>
                  <a:cxn ang="0">
                    <a:pos x="T8" y="T9"/>
                  </a:cxn>
                </a:cxnLst>
                <a:rect l="0" t="0" r="r" b="b"/>
                <a:pathLst>
                  <a:path w="31" h="37">
                    <a:moveTo>
                      <a:pt x="31" y="28"/>
                    </a:moveTo>
                    <a:lnTo>
                      <a:pt x="13" y="37"/>
                    </a:lnTo>
                    <a:lnTo>
                      <a:pt x="0" y="9"/>
                    </a:lnTo>
                    <a:lnTo>
                      <a:pt x="18" y="0"/>
                    </a:lnTo>
                    <a:lnTo>
                      <a:pt x="31"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Freeform 123"/>
              <p:cNvSpPr>
                <a:spLocks/>
              </p:cNvSpPr>
              <p:nvPr userDrawn="1"/>
            </p:nvSpPr>
            <p:spPr bwMode="auto">
              <a:xfrm>
                <a:off x="3592" y="1687"/>
                <a:ext cx="31" cy="36"/>
              </a:xfrm>
              <a:custGeom>
                <a:avLst/>
                <a:gdLst>
                  <a:gd name="T0" fmla="*/ 31 w 31"/>
                  <a:gd name="T1" fmla="*/ 27 h 36"/>
                  <a:gd name="T2" fmla="*/ 13 w 31"/>
                  <a:gd name="T3" fmla="*/ 36 h 36"/>
                  <a:gd name="T4" fmla="*/ 0 w 31"/>
                  <a:gd name="T5" fmla="*/ 8 h 36"/>
                  <a:gd name="T6" fmla="*/ 18 w 31"/>
                  <a:gd name="T7" fmla="*/ 0 h 36"/>
                  <a:gd name="T8" fmla="*/ 31 w 31"/>
                  <a:gd name="T9" fmla="*/ 27 h 36"/>
                </a:gdLst>
                <a:ahLst/>
                <a:cxnLst>
                  <a:cxn ang="0">
                    <a:pos x="T0" y="T1"/>
                  </a:cxn>
                  <a:cxn ang="0">
                    <a:pos x="T2" y="T3"/>
                  </a:cxn>
                  <a:cxn ang="0">
                    <a:pos x="T4" y="T5"/>
                  </a:cxn>
                  <a:cxn ang="0">
                    <a:pos x="T6" y="T7"/>
                  </a:cxn>
                  <a:cxn ang="0">
                    <a:pos x="T8" y="T9"/>
                  </a:cxn>
                </a:cxnLst>
                <a:rect l="0" t="0" r="r" b="b"/>
                <a:pathLst>
                  <a:path w="31" h="36">
                    <a:moveTo>
                      <a:pt x="31" y="27"/>
                    </a:moveTo>
                    <a:lnTo>
                      <a:pt x="13" y="36"/>
                    </a:lnTo>
                    <a:lnTo>
                      <a:pt x="0" y="8"/>
                    </a:lnTo>
                    <a:lnTo>
                      <a:pt x="18" y="0"/>
                    </a:lnTo>
                    <a:lnTo>
                      <a:pt x="31" y="27"/>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Freeform 124"/>
              <p:cNvSpPr>
                <a:spLocks/>
              </p:cNvSpPr>
              <p:nvPr userDrawn="1"/>
            </p:nvSpPr>
            <p:spPr bwMode="auto">
              <a:xfrm>
                <a:off x="3629" y="1669"/>
                <a:ext cx="32" cy="36"/>
              </a:xfrm>
              <a:custGeom>
                <a:avLst/>
                <a:gdLst>
                  <a:gd name="T0" fmla="*/ 32 w 32"/>
                  <a:gd name="T1" fmla="*/ 28 h 36"/>
                  <a:gd name="T2" fmla="*/ 13 w 32"/>
                  <a:gd name="T3" fmla="*/ 36 h 36"/>
                  <a:gd name="T4" fmla="*/ 0 w 32"/>
                  <a:gd name="T5" fmla="*/ 9 h 36"/>
                  <a:gd name="T6" fmla="*/ 19 w 32"/>
                  <a:gd name="T7" fmla="*/ 0 h 36"/>
                  <a:gd name="T8" fmla="*/ 32 w 32"/>
                  <a:gd name="T9" fmla="*/ 28 h 36"/>
                </a:gdLst>
                <a:ahLst/>
                <a:cxnLst>
                  <a:cxn ang="0">
                    <a:pos x="T0" y="T1"/>
                  </a:cxn>
                  <a:cxn ang="0">
                    <a:pos x="T2" y="T3"/>
                  </a:cxn>
                  <a:cxn ang="0">
                    <a:pos x="T4" y="T5"/>
                  </a:cxn>
                  <a:cxn ang="0">
                    <a:pos x="T6" y="T7"/>
                  </a:cxn>
                  <a:cxn ang="0">
                    <a:pos x="T8" y="T9"/>
                  </a:cxn>
                </a:cxnLst>
                <a:rect l="0" t="0" r="r" b="b"/>
                <a:pathLst>
                  <a:path w="32" h="36">
                    <a:moveTo>
                      <a:pt x="32" y="28"/>
                    </a:moveTo>
                    <a:lnTo>
                      <a:pt x="13" y="36"/>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Freeform 125"/>
              <p:cNvSpPr>
                <a:spLocks/>
              </p:cNvSpPr>
              <p:nvPr userDrawn="1"/>
            </p:nvSpPr>
            <p:spPr bwMode="auto">
              <a:xfrm>
                <a:off x="3667" y="1650"/>
                <a:ext cx="31" cy="38"/>
              </a:xfrm>
              <a:custGeom>
                <a:avLst/>
                <a:gdLst>
                  <a:gd name="T0" fmla="*/ 31 w 31"/>
                  <a:gd name="T1" fmla="*/ 29 h 38"/>
                  <a:gd name="T2" fmla="*/ 13 w 31"/>
                  <a:gd name="T3" fmla="*/ 38 h 38"/>
                  <a:gd name="T4" fmla="*/ 0 w 31"/>
                  <a:gd name="T5" fmla="*/ 9 h 38"/>
                  <a:gd name="T6" fmla="*/ 17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7"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26"/>
              <p:cNvSpPr>
                <a:spLocks/>
              </p:cNvSpPr>
              <p:nvPr userDrawn="1"/>
            </p:nvSpPr>
            <p:spPr bwMode="auto">
              <a:xfrm>
                <a:off x="3703" y="1632"/>
                <a:ext cx="32" cy="37"/>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Freeform 127"/>
              <p:cNvSpPr>
                <a:spLocks/>
              </p:cNvSpPr>
              <p:nvPr userDrawn="1"/>
            </p:nvSpPr>
            <p:spPr bwMode="auto">
              <a:xfrm>
                <a:off x="3740" y="1614"/>
                <a:ext cx="33" cy="37"/>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28"/>
              <p:cNvSpPr>
                <a:spLocks/>
              </p:cNvSpPr>
              <p:nvPr userDrawn="1"/>
            </p:nvSpPr>
            <p:spPr bwMode="auto">
              <a:xfrm>
                <a:off x="3777" y="1597"/>
                <a:ext cx="32" cy="36"/>
              </a:xfrm>
              <a:custGeom>
                <a:avLst/>
                <a:gdLst>
                  <a:gd name="T0" fmla="*/ 32 w 32"/>
                  <a:gd name="T1" fmla="*/ 27 h 36"/>
                  <a:gd name="T2" fmla="*/ 15 w 32"/>
                  <a:gd name="T3" fmla="*/ 36 h 36"/>
                  <a:gd name="T4" fmla="*/ 0 w 32"/>
                  <a:gd name="T5" fmla="*/ 9 h 36"/>
                  <a:gd name="T6" fmla="*/ 19 w 32"/>
                  <a:gd name="T7" fmla="*/ 0 h 36"/>
                  <a:gd name="T8" fmla="*/ 32 w 32"/>
                  <a:gd name="T9" fmla="*/ 27 h 36"/>
                </a:gdLst>
                <a:ahLst/>
                <a:cxnLst>
                  <a:cxn ang="0">
                    <a:pos x="T0" y="T1"/>
                  </a:cxn>
                  <a:cxn ang="0">
                    <a:pos x="T2" y="T3"/>
                  </a:cxn>
                  <a:cxn ang="0">
                    <a:pos x="T4" y="T5"/>
                  </a:cxn>
                  <a:cxn ang="0">
                    <a:pos x="T6" y="T7"/>
                  </a:cxn>
                  <a:cxn ang="0">
                    <a:pos x="T8" y="T9"/>
                  </a:cxn>
                </a:cxnLst>
                <a:rect l="0" t="0" r="r" b="b"/>
                <a:pathLst>
                  <a:path w="32" h="36">
                    <a:moveTo>
                      <a:pt x="32" y="27"/>
                    </a:moveTo>
                    <a:lnTo>
                      <a:pt x="15" y="36"/>
                    </a:lnTo>
                    <a:lnTo>
                      <a:pt x="0" y="9"/>
                    </a:lnTo>
                    <a:lnTo>
                      <a:pt x="19" y="0"/>
                    </a:lnTo>
                    <a:lnTo>
                      <a:pt x="32" y="27"/>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Freeform 129"/>
              <p:cNvSpPr>
                <a:spLocks/>
              </p:cNvSpPr>
              <p:nvPr userDrawn="1"/>
            </p:nvSpPr>
            <p:spPr bwMode="auto">
              <a:xfrm>
                <a:off x="3815" y="1579"/>
                <a:ext cx="31" cy="37"/>
              </a:xfrm>
              <a:custGeom>
                <a:avLst/>
                <a:gdLst>
                  <a:gd name="T0" fmla="*/ 31 w 31"/>
                  <a:gd name="T1" fmla="*/ 28 h 37"/>
                  <a:gd name="T2" fmla="*/ 13 w 31"/>
                  <a:gd name="T3" fmla="*/ 37 h 37"/>
                  <a:gd name="T4" fmla="*/ 0 w 31"/>
                  <a:gd name="T5" fmla="*/ 9 h 37"/>
                  <a:gd name="T6" fmla="*/ 18 w 31"/>
                  <a:gd name="T7" fmla="*/ 0 h 37"/>
                  <a:gd name="T8" fmla="*/ 31 w 31"/>
                  <a:gd name="T9" fmla="*/ 28 h 37"/>
                </a:gdLst>
                <a:ahLst/>
                <a:cxnLst>
                  <a:cxn ang="0">
                    <a:pos x="T0" y="T1"/>
                  </a:cxn>
                  <a:cxn ang="0">
                    <a:pos x="T2" y="T3"/>
                  </a:cxn>
                  <a:cxn ang="0">
                    <a:pos x="T4" y="T5"/>
                  </a:cxn>
                  <a:cxn ang="0">
                    <a:pos x="T6" y="T7"/>
                  </a:cxn>
                  <a:cxn ang="0">
                    <a:pos x="T8" y="T9"/>
                  </a:cxn>
                </a:cxnLst>
                <a:rect l="0" t="0" r="r" b="b"/>
                <a:pathLst>
                  <a:path w="31" h="37">
                    <a:moveTo>
                      <a:pt x="31" y="28"/>
                    </a:moveTo>
                    <a:lnTo>
                      <a:pt x="13" y="37"/>
                    </a:lnTo>
                    <a:lnTo>
                      <a:pt x="0" y="9"/>
                    </a:lnTo>
                    <a:lnTo>
                      <a:pt x="18" y="0"/>
                    </a:lnTo>
                    <a:lnTo>
                      <a:pt x="31"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7" name="Freeform 130"/>
              <p:cNvSpPr>
                <a:spLocks/>
              </p:cNvSpPr>
              <p:nvPr userDrawn="1"/>
            </p:nvSpPr>
            <p:spPr bwMode="auto">
              <a:xfrm>
                <a:off x="3852" y="1561"/>
                <a:ext cx="32" cy="37"/>
              </a:xfrm>
              <a:custGeom>
                <a:avLst/>
                <a:gdLst>
                  <a:gd name="T0" fmla="*/ 32 w 32"/>
                  <a:gd name="T1" fmla="*/ 28 h 37"/>
                  <a:gd name="T2" fmla="*/ 13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3"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31"/>
              <p:cNvSpPr>
                <a:spLocks/>
              </p:cNvSpPr>
              <p:nvPr userDrawn="1"/>
            </p:nvSpPr>
            <p:spPr bwMode="auto">
              <a:xfrm>
                <a:off x="3889" y="1543"/>
                <a:ext cx="32" cy="37"/>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32"/>
              <p:cNvSpPr>
                <a:spLocks/>
              </p:cNvSpPr>
              <p:nvPr userDrawn="1"/>
            </p:nvSpPr>
            <p:spPr bwMode="auto">
              <a:xfrm>
                <a:off x="3926" y="1526"/>
                <a:ext cx="32" cy="36"/>
              </a:xfrm>
              <a:custGeom>
                <a:avLst/>
                <a:gdLst>
                  <a:gd name="T0" fmla="*/ 32 w 32"/>
                  <a:gd name="T1" fmla="*/ 27 h 36"/>
                  <a:gd name="T2" fmla="*/ 14 w 32"/>
                  <a:gd name="T3" fmla="*/ 36 h 36"/>
                  <a:gd name="T4" fmla="*/ 0 w 32"/>
                  <a:gd name="T5" fmla="*/ 8 h 36"/>
                  <a:gd name="T6" fmla="*/ 18 w 32"/>
                  <a:gd name="T7" fmla="*/ 0 h 36"/>
                  <a:gd name="T8" fmla="*/ 32 w 32"/>
                  <a:gd name="T9" fmla="*/ 27 h 36"/>
                </a:gdLst>
                <a:ahLst/>
                <a:cxnLst>
                  <a:cxn ang="0">
                    <a:pos x="T0" y="T1"/>
                  </a:cxn>
                  <a:cxn ang="0">
                    <a:pos x="T2" y="T3"/>
                  </a:cxn>
                  <a:cxn ang="0">
                    <a:pos x="T4" y="T5"/>
                  </a:cxn>
                  <a:cxn ang="0">
                    <a:pos x="T6" y="T7"/>
                  </a:cxn>
                  <a:cxn ang="0">
                    <a:pos x="T8" y="T9"/>
                  </a:cxn>
                </a:cxnLst>
                <a:rect l="0" t="0" r="r" b="b"/>
                <a:pathLst>
                  <a:path w="32" h="36">
                    <a:moveTo>
                      <a:pt x="32" y="27"/>
                    </a:moveTo>
                    <a:lnTo>
                      <a:pt x="14" y="36"/>
                    </a:lnTo>
                    <a:lnTo>
                      <a:pt x="0" y="8"/>
                    </a:lnTo>
                    <a:lnTo>
                      <a:pt x="18" y="0"/>
                    </a:lnTo>
                    <a:lnTo>
                      <a:pt x="32" y="27"/>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Freeform 133"/>
              <p:cNvSpPr>
                <a:spLocks/>
              </p:cNvSpPr>
              <p:nvPr userDrawn="1"/>
            </p:nvSpPr>
            <p:spPr bwMode="auto">
              <a:xfrm>
                <a:off x="3963" y="1507"/>
                <a:ext cx="33" cy="36"/>
              </a:xfrm>
              <a:custGeom>
                <a:avLst/>
                <a:gdLst>
                  <a:gd name="T0" fmla="*/ 33 w 33"/>
                  <a:gd name="T1" fmla="*/ 29 h 36"/>
                  <a:gd name="T2" fmla="*/ 14 w 33"/>
                  <a:gd name="T3" fmla="*/ 36 h 36"/>
                  <a:gd name="T4" fmla="*/ 0 w 33"/>
                  <a:gd name="T5" fmla="*/ 9 h 36"/>
                  <a:gd name="T6" fmla="*/ 18 w 33"/>
                  <a:gd name="T7" fmla="*/ 0 h 36"/>
                  <a:gd name="T8" fmla="*/ 33 w 33"/>
                  <a:gd name="T9" fmla="*/ 29 h 36"/>
                </a:gdLst>
                <a:ahLst/>
                <a:cxnLst>
                  <a:cxn ang="0">
                    <a:pos x="T0" y="T1"/>
                  </a:cxn>
                  <a:cxn ang="0">
                    <a:pos x="T2" y="T3"/>
                  </a:cxn>
                  <a:cxn ang="0">
                    <a:pos x="T4" y="T5"/>
                  </a:cxn>
                  <a:cxn ang="0">
                    <a:pos x="T6" y="T7"/>
                  </a:cxn>
                  <a:cxn ang="0">
                    <a:pos x="T8" y="T9"/>
                  </a:cxn>
                </a:cxnLst>
                <a:rect l="0" t="0" r="r" b="b"/>
                <a:pathLst>
                  <a:path w="33" h="36">
                    <a:moveTo>
                      <a:pt x="33" y="29"/>
                    </a:moveTo>
                    <a:lnTo>
                      <a:pt x="14" y="36"/>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 name="Freeform 134"/>
              <p:cNvSpPr>
                <a:spLocks/>
              </p:cNvSpPr>
              <p:nvPr userDrawn="1"/>
            </p:nvSpPr>
            <p:spPr bwMode="auto">
              <a:xfrm>
                <a:off x="4000" y="1489"/>
                <a:ext cx="32" cy="37"/>
              </a:xfrm>
              <a:custGeom>
                <a:avLst/>
                <a:gdLst>
                  <a:gd name="T0" fmla="*/ 32 w 32"/>
                  <a:gd name="T1" fmla="*/ 28 h 37"/>
                  <a:gd name="T2" fmla="*/ 15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5"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35"/>
              <p:cNvSpPr>
                <a:spLocks/>
              </p:cNvSpPr>
              <p:nvPr userDrawn="1"/>
            </p:nvSpPr>
            <p:spPr bwMode="auto">
              <a:xfrm>
                <a:off x="4038" y="1471"/>
                <a:ext cx="31" cy="37"/>
              </a:xfrm>
              <a:custGeom>
                <a:avLst/>
                <a:gdLst>
                  <a:gd name="T0" fmla="*/ 31 w 31"/>
                  <a:gd name="T1" fmla="*/ 28 h 37"/>
                  <a:gd name="T2" fmla="*/ 13 w 31"/>
                  <a:gd name="T3" fmla="*/ 37 h 37"/>
                  <a:gd name="T4" fmla="*/ 0 w 31"/>
                  <a:gd name="T5" fmla="*/ 9 h 37"/>
                  <a:gd name="T6" fmla="*/ 18 w 31"/>
                  <a:gd name="T7" fmla="*/ 0 h 37"/>
                  <a:gd name="T8" fmla="*/ 31 w 31"/>
                  <a:gd name="T9" fmla="*/ 28 h 37"/>
                </a:gdLst>
                <a:ahLst/>
                <a:cxnLst>
                  <a:cxn ang="0">
                    <a:pos x="T0" y="T1"/>
                  </a:cxn>
                  <a:cxn ang="0">
                    <a:pos x="T2" y="T3"/>
                  </a:cxn>
                  <a:cxn ang="0">
                    <a:pos x="T4" y="T5"/>
                  </a:cxn>
                  <a:cxn ang="0">
                    <a:pos x="T6" y="T7"/>
                  </a:cxn>
                  <a:cxn ang="0">
                    <a:pos x="T8" y="T9"/>
                  </a:cxn>
                </a:cxnLst>
                <a:rect l="0" t="0" r="r" b="b"/>
                <a:pathLst>
                  <a:path w="31" h="37">
                    <a:moveTo>
                      <a:pt x="31" y="28"/>
                    </a:moveTo>
                    <a:lnTo>
                      <a:pt x="13" y="37"/>
                    </a:lnTo>
                    <a:lnTo>
                      <a:pt x="0" y="9"/>
                    </a:lnTo>
                    <a:lnTo>
                      <a:pt x="18" y="0"/>
                    </a:lnTo>
                    <a:lnTo>
                      <a:pt x="31"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Freeform 136"/>
              <p:cNvSpPr>
                <a:spLocks/>
              </p:cNvSpPr>
              <p:nvPr userDrawn="1"/>
            </p:nvSpPr>
            <p:spPr bwMode="auto">
              <a:xfrm>
                <a:off x="3237" y="1545"/>
                <a:ext cx="762" cy="365"/>
              </a:xfrm>
              <a:custGeom>
                <a:avLst/>
                <a:gdLst>
                  <a:gd name="T0" fmla="*/ 5 w 762"/>
                  <a:gd name="T1" fmla="*/ 365 h 365"/>
                  <a:gd name="T2" fmla="*/ 0 w 762"/>
                  <a:gd name="T3" fmla="*/ 356 h 365"/>
                  <a:gd name="T4" fmla="*/ 737 w 762"/>
                  <a:gd name="T5" fmla="*/ 0 h 365"/>
                  <a:gd name="T6" fmla="*/ 762 w 762"/>
                  <a:gd name="T7" fmla="*/ 0 h 365"/>
                  <a:gd name="T8" fmla="*/ 5 w 762"/>
                  <a:gd name="T9" fmla="*/ 365 h 365"/>
                </a:gdLst>
                <a:ahLst/>
                <a:cxnLst>
                  <a:cxn ang="0">
                    <a:pos x="T0" y="T1"/>
                  </a:cxn>
                  <a:cxn ang="0">
                    <a:pos x="T2" y="T3"/>
                  </a:cxn>
                  <a:cxn ang="0">
                    <a:pos x="T4" y="T5"/>
                  </a:cxn>
                  <a:cxn ang="0">
                    <a:pos x="T6" y="T7"/>
                  </a:cxn>
                  <a:cxn ang="0">
                    <a:pos x="T8" y="T9"/>
                  </a:cxn>
                </a:cxnLst>
                <a:rect l="0" t="0" r="r" b="b"/>
                <a:pathLst>
                  <a:path w="762" h="365">
                    <a:moveTo>
                      <a:pt x="5" y="365"/>
                    </a:moveTo>
                    <a:lnTo>
                      <a:pt x="0" y="356"/>
                    </a:lnTo>
                    <a:lnTo>
                      <a:pt x="737" y="0"/>
                    </a:lnTo>
                    <a:lnTo>
                      <a:pt x="762" y="0"/>
                    </a:lnTo>
                    <a:lnTo>
                      <a:pt x="5" y="365"/>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Freeform 137"/>
              <p:cNvSpPr>
                <a:spLocks/>
              </p:cNvSpPr>
              <p:nvPr userDrawn="1"/>
            </p:nvSpPr>
            <p:spPr bwMode="auto">
              <a:xfrm>
                <a:off x="3460" y="1261"/>
                <a:ext cx="68" cy="23"/>
              </a:xfrm>
              <a:custGeom>
                <a:avLst/>
                <a:gdLst>
                  <a:gd name="T0" fmla="*/ 0 w 68"/>
                  <a:gd name="T1" fmla="*/ 0 h 23"/>
                  <a:gd name="T2" fmla="*/ 0 w 68"/>
                  <a:gd name="T3" fmla="*/ 0 h 23"/>
                  <a:gd name="T4" fmla="*/ 68 w 68"/>
                  <a:gd name="T5" fmla="*/ 23 h 23"/>
                  <a:gd name="T6" fmla="*/ 68 w 68"/>
                  <a:gd name="T7" fmla="*/ 23 h 23"/>
                  <a:gd name="T8" fmla="*/ 0 w 68"/>
                  <a:gd name="T9" fmla="*/ 0 h 23"/>
                </a:gdLst>
                <a:ahLst/>
                <a:cxnLst>
                  <a:cxn ang="0">
                    <a:pos x="T0" y="T1"/>
                  </a:cxn>
                  <a:cxn ang="0">
                    <a:pos x="T2" y="T3"/>
                  </a:cxn>
                  <a:cxn ang="0">
                    <a:pos x="T4" y="T5"/>
                  </a:cxn>
                  <a:cxn ang="0">
                    <a:pos x="T6" y="T7"/>
                  </a:cxn>
                  <a:cxn ang="0">
                    <a:pos x="T8" y="T9"/>
                  </a:cxn>
                </a:cxnLst>
                <a:rect l="0" t="0" r="r" b="b"/>
                <a:pathLst>
                  <a:path w="68" h="23">
                    <a:moveTo>
                      <a:pt x="0" y="0"/>
                    </a:moveTo>
                    <a:lnTo>
                      <a:pt x="0" y="0"/>
                    </a:lnTo>
                    <a:lnTo>
                      <a:pt x="68" y="23"/>
                    </a:lnTo>
                    <a:lnTo>
                      <a:pt x="68"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Freeform 138"/>
              <p:cNvSpPr>
                <a:spLocks/>
              </p:cNvSpPr>
              <p:nvPr userDrawn="1"/>
            </p:nvSpPr>
            <p:spPr bwMode="auto">
              <a:xfrm>
                <a:off x="3460" y="1261"/>
                <a:ext cx="68" cy="23"/>
              </a:xfrm>
              <a:custGeom>
                <a:avLst/>
                <a:gdLst>
                  <a:gd name="T0" fmla="*/ 0 w 68"/>
                  <a:gd name="T1" fmla="*/ 0 h 23"/>
                  <a:gd name="T2" fmla="*/ 0 w 68"/>
                  <a:gd name="T3" fmla="*/ 0 h 23"/>
                  <a:gd name="T4" fmla="*/ 68 w 68"/>
                  <a:gd name="T5" fmla="*/ 23 h 23"/>
                  <a:gd name="T6" fmla="*/ 68 w 68"/>
                  <a:gd name="T7" fmla="*/ 23 h 23"/>
                  <a:gd name="T8" fmla="*/ 0 w 68"/>
                  <a:gd name="T9" fmla="*/ 0 h 23"/>
                </a:gdLst>
                <a:ahLst/>
                <a:cxnLst>
                  <a:cxn ang="0">
                    <a:pos x="T0" y="T1"/>
                  </a:cxn>
                  <a:cxn ang="0">
                    <a:pos x="T2" y="T3"/>
                  </a:cxn>
                  <a:cxn ang="0">
                    <a:pos x="T4" y="T5"/>
                  </a:cxn>
                  <a:cxn ang="0">
                    <a:pos x="T6" y="T7"/>
                  </a:cxn>
                  <a:cxn ang="0">
                    <a:pos x="T8" y="T9"/>
                  </a:cxn>
                </a:cxnLst>
                <a:rect l="0" t="0" r="r" b="b"/>
                <a:pathLst>
                  <a:path w="68" h="23">
                    <a:moveTo>
                      <a:pt x="0" y="0"/>
                    </a:moveTo>
                    <a:lnTo>
                      <a:pt x="0" y="0"/>
                    </a:lnTo>
                    <a:lnTo>
                      <a:pt x="68" y="23"/>
                    </a:lnTo>
                    <a:lnTo>
                      <a:pt x="68"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Freeform 139"/>
              <p:cNvSpPr>
                <a:spLocks/>
              </p:cNvSpPr>
              <p:nvPr userDrawn="1"/>
            </p:nvSpPr>
            <p:spPr bwMode="auto">
              <a:xfrm>
                <a:off x="3460" y="1261"/>
                <a:ext cx="84" cy="131"/>
              </a:xfrm>
              <a:custGeom>
                <a:avLst/>
                <a:gdLst>
                  <a:gd name="T0" fmla="*/ 0 w 84"/>
                  <a:gd name="T1" fmla="*/ 0 h 131"/>
                  <a:gd name="T2" fmla="*/ 73 w 84"/>
                  <a:gd name="T3" fmla="*/ 131 h 131"/>
                  <a:gd name="T4" fmla="*/ 84 w 84"/>
                  <a:gd name="T5" fmla="*/ 74 h 131"/>
                  <a:gd name="T6" fmla="*/ 68 w 84"/>
                  <a:gd name="T7" fmla="*/ 23 h 131"/>
                  <a:gd name="T8" fmla="*/ 0 w 84"/>
                  <a:gd name="T9" fmla="*/ 0 h 131"/>
                </a:gdLst>
                <a:ahLst/>
                <a:cxnLst>
                  <a:cxn ang="0">
                    <a:pos x="T0" y="T1"/>
                  </a:cxn>
                  <a:cxn ang="0">
                    <a:pos x="T2" y="T3"/>
                  </a:cxn>
                  <a:cxn ang="0">
                    <a:pos x="T4" y="T5"/>
                  </a:cxn>
                  <a:cxn ang="0">
                    <a:pos x="T6" y="T7"/>
                  </a:cxn>
                  <a:cxn ang="0">
                    <a:pos x="T8" y="T9"/>
                  </a:cxn>
                </a:cxnLst>
                <a:rect l="0" t="0" r="r" b="b"/>
                <a:pathLst>
                  <a:path w="84" h="131">
                    <a:moveTo>
                      <a:pt x="0" y="0"/>
                    </a:moveTo>
                    <a:lnTo>
                      <a:pt x="73" y="131"/>
                    </a:lnTo>
                    <a:lnTo>
                      <a:pt x="84" y="74"/>
                    </a:lnTo>
                    <a:lnTo>
                      <a:pt x="68"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40"/>
              <p:cNvSpPr>
                <a:spLocks/>
              </p:cNvSpPr>
              <p:nvPr userDrawn="1"/>
            </p:nvSpPr>
            <p:spPr bwMode="auto">
              <a:xfrm>
                <a:off x="3460" y="1261"/>
                <a:ext cx="84" cy="131"/>
              </a:xfrm>
              <a:custGeom>
                <a:avLst/>
                <a:gdLst>
                  <a:gd name="T0" fmla="*/ 0 w 84"/>
                  <a:gd name="T1" fmla="*/ 0 h 131"/>
                  <a:gd name="T2" fmla="*/ 73 w 84"/>
                  <a:gd name="T3" fmla="*/ 131 h 131"/>
                  <a:gd name="T4" fmla="*/ 84 w 84"/>
                  <a:gd name="T5" fmla="*/ 74 h 131"/>
                  <a:gd name="T6" fmla="*/ 68 w 84"/>
                  <a:gd name="T7" fmla="*/ 23 h 131"/>
                  <a:gd name="T8" fmla="*/ 0 w 84"/>
                  <a:gd name="T9" fmla="*/ 0 h 131"/>
                </a:gdLst>
                <a:ahLst/>
                <a:cxnLst>
                  <a:cxn ang="0">
                    <a:pos x="T0" y="T1"/>
                  </a:cxn>
                  <a:cxn ang="0">
                    <a:pos x="T2" y="T3"/>
                  </a:cxn>
                  <a:cxn ang="0">
                    <a:pos x="T4" y="T5"/>
                  </a:cxn>
                  <a:cxn ang="0">
                    <a:pos x="T6" y="T7"/>
                  </a:cxn>
                  <a:cxn ang="0">
                    <a:pos x="T8" y="T9"/>
                  </a:cxn>
                </a:cxnLst>
                <a:rect l="0" t="0" r="r" b="b"/>
                <a:pathLst>
                  <a:path w="84" h="131">
                    <a:moveTo>
                      <a:pt x="0" y="0"/>
                    </a:moveTo>
                    <a:lnTo>
                      <a:pt x="73" y="131"/>
                    </a:lnTo>
                    <a:lnTo>
                      <a:pt x="84" y="74"/>
                    </a:lnTo>
                    <a:lnTo>
                      <a:pt x="68"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41"/>
              <p:cNvSpPr>
                <a:spLocks/>
              </p:cNvSpPr>
              <p:nvPr userDrawn="1"/>
            </p:nvSpPr>
            <p:spPr bwMode="auto">
              <a:xfrm>
                <a:off x="3471" y="993"/>
                <a:ext cx="406" cy="548"/>
              </a:xfrm>
              <a:custGeom>
                <a:avLst/>
                <a:gdLst>
                  <a:gd name="T0" fmla="*/ 288 w 364"/>
                  <a:gd name="T1" fmla="*/ 345 h 494"/>
                  <a:gd name="T2" fmla="*/ 364 w 364"/>
                  <a:gd name="T3" fmla="*/ 371 h 494"/>
                  <a:gd name="T4" fmla="*/ 331 w 364"/>
                  <a:gd name="T5" fmla="*/ 251 h 494"/>
                  <a:gd name="T6" fmla="*/ 230 w 364"/>
                  <a:gd name="T7" fmla="*/ 182 h 494"/>
                  <a:gd name="T8" fmla="*/ 229 w 364"/>
                  <a:gd name="T9" fmla="*/ 182 h 494"/>
                  <a:gd name="T10" fmla="*/ 182 w 364"/>
                  <a:gd name="T11" fmla="*/ 0 h 494"/>
                  <a:gd name="T12" fmla="*/ 0 w 364"/>
                  <a:gd name="T13" fmla="*/ 101 h 494"/>
                  <a:gd name="T14" fmla="*/ 65 w 364"/>
                  <a:gd name="T15" fmla="*/ 308 h 494"/>
                  <a:gd name="T16" fmla="*/ 50 w 364"/>
                  <a:gd name="T17" fmla="*/ 381 h 494"/>
                  <a:gd name="T18" fmla="*/ 75 w 364"/>
                  <a:gd name="T19" fmla="*/ 420 h 494"/>
                  <a:gd name="T20" fmla="*/ 92 w 364"/>
                  <a:gd name="T21" fmla="*/ 419 h 494"/>
                  <a:gd name="T22" fmla="*/ 118 w 364"/>
                  <a:gd name="T23" fmla="*/ 454 h 494"/>
                  <a:gd name="T24" fmla="*/ 137 w 364"/>
                  <a:gd name="T25" fmla="*/ 452 h 494"/>
                  <a:gd name="T26" fmla="*/ 137 w 364"/>
                  <a:gd name="T27" fmla="*/ 453 h 494"/>
                  <a:gd name="T28" fmla="*/ 162 w 364"/>
                  <a:gd name="T29" fmla="*/ 492 h 494"/>
                  <a:gd name="T30" fmla="*/ 194 w 364"/>
                  <a:gd name="T31" fmla="*/ 480 h 494"/>
                  <a:gd name="T32" fmla="*/ 212 w 364"/>
                  <a:gd name="T33" fmla="*/ 490 h 494"/>
                  <a:gd name="T34" fmla="*/ 251 w 364"/>
                  <a:gd name="T35" fmla="*/ 465 h 494"/>
                  <a:gd name="T36" fmla="*/ 261 w 364"/>
                  <a:gd name="T37" fmla="*/ 416 h 494"/>
                  <a:gd name="T38" fmla="*/ 287 w 364"/>
                  <a:gd name="T39" fmla="*/ 341 h 494"/>
                  <a:gd name="T40" fmla="*/ 288 w 364"/>
                  <a:gd name="T41" fmla="*/ 345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4" h="494">
                    <a:moveTo>
                      <a:pt x="288" y="345"/>
                    </a:moveTo>
                    <a:cubicBezTo>
                      <a:pt x="364" y="371"/>
                      <a:pt x="364" y="371"/>
                      <a:pt x="364" y="371"/>
                    </a:cubicBezTo>
                    <a:cubicBezTo>
                      <a:pt x="339" y="293"/>
                      <a:pt x="350" y="287"/>
                      <a:pt x="331" y="251"/>
                    </a:cubicBezTo>
                    <a:cubicBezTo>
                      <a:pt x="307" y="206"/>
                      <a:pt x="256" y="184"/>
                      <a:pt x="230" y="182"/>
                    </a:cubicBezTo>
                    <a:cubicBezTo>
                      <a:pt x="229" y="182"/>
                      <a:pt x="229" y="182"/>
                      <a:pt x="229" y="182"/>
                    </a:cubicBezTo>
                    <a:cubicBezTo>
                      <a:pt x="182" y="0"/>
                      <a:pt x="182" y="0"/>
                      <a:pt x="182" y="0"/>
                    </a:cubicBezTo>
                    <a:cubicBezTo>
                      <a:pt x="0" y="101"/>
                      <a:pt x="0" y="101"/>
                      <a:pt x="0" y="101"/>
                    </a:cubicBezTo>
                    <a:cubicBezTo>
                      <a:pt x="65" y="308"/>
                      <a:pt x="65" y="308"/>
                      <a:pt x="65" y="308"/>
                    </a:cubicBezTo>
                    <a:cubicBezTo>
                      <a:pt x="50" y="381"/>
                      <a:pt x="50" y="381"/>
                      <a:pt x="50" y="381"/>
                    </a:cubicBezTo>
                    <a:cubicBezTo>
                      <a:pt x="46" y="399"/>
                      <a:pt x="57" y="416"/>
                      <a:pt x="75" y="420"/>
                    </a:cubicBezTo>
                    <a:cubicBezTo>
                      <a:pt x="81" y="421"/>
                      <a:pt x="87" y="421"/>
                      <a:pt x="92" y="419"/>
                    </a:cubicBezTo>
                    <a:cubicBezTo>
                      <a:pt x="91" y="435"/>
                      <a:pt x="101" y="451"/>
                      <a:pt x="118" y="454"/>
                    </a:cubicBezTo>
                    <a:cubicBezTo>
                      <a:pt x="125" y="456"/>
                      <a:pt x="131" y="455"/>
                      <a:pt x="137" y="452"/>
                    </a:cubicBezTo>
                    <a:cubicBezTo>
                      <a:pt x="137" y="453"/>
                      <a:pt x="137" y="453"/>
                      <a:pt x="137" y="453"/>
                    </a:cubicBezTo>
                    <a:cubicBezTo>
                      <a:pt x="133" y="471"/>
                      <a:pt x="145" y="488"/>
                      <a:pt x="162" y="492"/>
                    </a:cubicBezTo>
                    <a:cubicBezTo>
                      <a:pt x="175" y="494"/>
                      <a:pt x="187" y="489"/>
                      <a:pt x="194" y="480"/>
                    </a:cubicBezTo>
                    <a:cubicBezTo>
                      <a:pt x="199" y="485"/>
                      <a:pt x="205" y="489"/>
                      <a:pt x="212" y="490"/>
                    </a:cubicBezTo>
                    <a:cubicBezTo>
                      <a:pt x="230" y="494"/>
                      <a:pt x="247" y="483"/>
                      <a:pt x="251" y="465"/>
                    </a:cubicBezTo>
                    <a:cubicBezTo>
                      <a:pt x="261" y="416"/>
                      <a:pt x="261" y="416"/>
                      <a:pt x="261" y="416"/>
                    </a:cubicBezTo>
                    <a:cubicBezTo>
                      <a:pt x="287" y="341"/>
                      <a:pt x="287" y="341"/>
                      <a:pt x="287" y="341"/>
                    </a:cubicBezTo>
                    <a:cubicBezTo>
                      <a:pt x="288" y="345"/>
                      <a:pt x="288" y="345"/>
                      <a:pt x="288" y="345"/>
                    </a:cubicBezTo>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Freeform 142"/>
              <p:cNvSpPr>
                <a:spLocks/>
              </p:cNvSpPr>
              <p:nvPr userDrawn="1"/>
            </p:nvSpPr>
            <p:spPr bwMode="auto">
              <a:xfrm>
                <a:off x="3432" y="983"/>
                <a:ext cx="266" cy="146"/>
              </a:xfrm>
              <a:custGeom>
                <a:avLst/>
                <a:gdLst>
                  <a:gd name="T0" fmla="*/ 218 w 266"/>
                  <a:gd name="T1" fmla="*/ 0 h 146"/>
                  <a:gd name="T2" fmla="*/ 0 w 266"/>
                  <a:gd name="T3" fmla="*/ 96 h 146"/>
                  <a:gd name="T4" fmla="*/ 23 w 266"/>
                  <a:gd name="T5" fmla="*/ 146 h 146"/>
                  <a:gd name="T6" fmla="*/ 266 w 266"/>
                  <a:gd name="T7" fmla="*/ 47 h 146"/>
                  <a:gd name="T8" fmla="*/ 254 w 266"/>
                  <a:gd name="T9" fmla="*/ 0 h 146"/>
                  <a:gd name="T10" fmla="*/ 218 w 266"/>
                  <a:gd name="T11" fmla="*/ 0 h 146"/>
                </a:gdLst>
                <a:ahLst/>
                <a:cxnLst>
                  <a:cxn ang="0">
                    <a:pos x="T0" y="T1"/>
                  </a:cxn>
                  <a:cxn ang="0">
                    <a:pos x="T2" y="T3"/>
                  </a:cxn>
                  <a:cxn ang="0">
                    <a:pos x="T4" y="T5"/>
                  </a:cxn>
                  <a:cxn ang="0">
                    <a:pos x="T6" y="T7"/>
                  </a:cxn>
                  <a:cxn ang="0">
                    <a:pos x="T8" y="T9"/>
                  </a:cxn>
                  <a:cxn ang="0">
                    <a:pos x="T10" y="T11"/>
                  </a:cxn>
                </a:cxnLst>
                <a:rect l="0" t="0" r="r" b="b"/>
                <a:pathLst>
                  <a:path w="266" h="146">
                    <a:moveTo>
                      <a:pt x="218" y="0"/>
                    </a:moveTo>
                    <a:lnTo>
                      <a:pt x="0" y="96"/>
                    </a:lnTo>
                    <a:lnTo>
                      <a:pt x="23" y="146"/>
                    </a:lnTo>
                    <a:lnTo>
                      <a:pt x="266" y="47"/>
                    </a:lnTo>
                    <a:lnTo>
                      <a:pt x="254" y="0"/>
                    </a:lnTo>
                    <a:lnTo>
                      <a:pt x="21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Freeform 143"/>
              <p:cNvSpPr>
                <a:spLocks/>
              </p:cNvSpPr>
              <p:nvPr userDrawn="1"/>
            </p:nvSpPr>
            <p:spPr bwMode="auto">
              <a:xfrm>
                <a:off x="3432" y="983"/>
                <a:ext cx="266" cy="146"/>
              </a:xfrm>
              <a:custGeom>
                <a:avLst/>
                <a:gdLst>
                  <a:gd name="T0" fmla="*/ 218 w 266"/>
                  <a:gd name="T1" fmla="*/ 0 h 146"/>
                  <a:gd name="T2" fmla="*/ 0 w 266"/>
                  <a:gd name="T3" fmla="*/ 96 h 146"/>
                  <a:gd name="T4" fmla="*/ 23 w 266"/>
                  <a:gd name="T5" fmla="*/ 146 h 146"/>
                  <a:gd name="T6" fmla="*/ 266 w 266"/>
                  <a:gd name="T7" fmla="*/ 47 h 146"/>
                  <a:gd name="T8" fmla="*/ 254 w 266"/>
                  <a:gd name="T9" fmla="*/ 0 h 146"/>
                  <a:gd name="T10" fmla="*/ 218 w 266"/>
                  <a:gd name="T11" fmla="*/ 0 h 146"/>
                </a:gdLst>
                <a:ahLst/>
                <a:cxnLst>
                  <a:cxn ang="0">
                    <a:pos x="T0" y="T1"/>
                  </a:cxn>
                  <a:cxn ang="0">
                    <a:pos x="T2" y="T3"/>
                  </a:cxn>
                  <a:cxn ang="0">
                    <a:pos x="T4" y="T5"/>
                  </a:cxn>
                  <a:cxn ang="0">
                    <a:pos x="T6" y="T7"/>
                  </a:cxn>
                  <a:cxn ang="0">
                    <a:pos x="T8" y="T9"/>
                  </a:cxn>
                  <a:cxn ang="0">
                    <a:pos x="T10" y="T11"/>
                  </a:cxn>
                </a:cxnLst>
                <a:rect l="0" t="0" r="r" b="b"/>
                <a:pathLst>
                  <a:path w="266" h="146">
                    <a:moveTo>
                      <a:pt x="218" y="0"/>
                    </a:moveTo>
                    <a:lnTo>
                      <a:pt x="0" y="96"/>
                    </a:lnTo>
                    <a:lnTo>
                      <a:pt x="23" y="146"/>
                    </a:lnTo>
                    <a:lnTo>
                      <a:pt x="266" y="47"/>
                    </a:lnTo>
                    <a:lnTo>
                      <a:pt x="254" y="0"/>
                    </a:lnTo>
                    <a:lnTo>
                      <a:pt x="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Freeform 144"/>
              <p:cNvSpPr>
                <a:spLocks/>
              </p:cNvSpPr>
              <p:nvPr userDrawn="1"/>
            </p:nvSpPr>
            <p:spPr bwMode="auto">
              <a:xfrm>
                <a:off x="3368" y="960"/>
                <a:ext cx="324" cy="133"/>
              </a:xfrm>
              <a:custGeom>
                <a:avLst/>
                <a:gdLst>
                  <a:gd name="T0" fmla="*/ 0 w 324"/>
                  <a:gd name="T1" fmla="*/ 0 h 133"/>
                  <a:gd name="T2" fmla="*/ 61 w 324"/>
                  <a:gd name="T3" fmla="*/ 133 h 133"/>
                  <a:gd name="T4" fmla="*/ 324 w 324"/>
                  <a:gd name="T5" fmla="*/ 28 h 133"/>
                  <a:gd name="T6" fmla="*/ 315 w 324"/>
                  <a:gd name="T7" fmla="*/ 0 h 133"/>
                  <a:gd name="T8" fmla="*/ 0 w 324"/>
                  <a:gd name="T9" fmla="*/ 0 h 133"/>
                </a:gdLst>
                <a:ahLst/>
                <a:cxnLst>
                  <a:cxn ang="0">
                    <a:pos x="T0" y="T1"/>
                  </a:cxn>
                  <a:cxn ang="0">
                    <a:pos x="T2" y="T3"/>
                  </a:cxn>
                  <a:cxn ang="0">
                    <a:pos x="T4" y="T5"/>
                  </a:cxn>
                  <a:cxn ang="0">
                    <a:pos x="T6" y="T7"/>
                  </a:cxn>
                  <a:cxn ang="0">
                    <a:pos x="T8" y="T9"/>
                  </a:cxn>
                </a:cxnLst>
                <a:rect l="0" t="0" r="r" b="b"/>
                <a:pathLst>
                  <a:path w="324" h="133">
                    <a:moveTo>
                      <a:pt x="0" y="0"/>
                    </a:moveTo>
                    <a:lnTo>
                      <a:pt x="61" y="133"/>
                    </a:lnTo>
                    <a:lnTo>
                      <a:pt x="324" y="28"/>
                    </a:lnTo>
                    <a:lnTo>
                      <a:pt x="315"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Freeform 145"/>
              <p:cNvSpPr>
                <a:spLocks/>
              </p:cNvSpPr>
              <p:nvPr userDrawn="1"/>
            </p:nvSpPr>
            <p:spPr bwMode="auto">
              <a:xfrm>
                <a:off x="3368" y="960"/>
                <a:ext cx="324" cy="133"/>
              </a:xfrm>
              <a:custGeom>
                <a:avLst/>
                <a:gdLst>
                  <a:gd name="T0" fmla="*/ 0 w 324"/>
                  <a:gd name="T1" fmla="*/ 0 h 133"/>
                  <a:gd name="T2" fmla="*/ 61 w 324"/>
                  <a:gd name="T3" fmla="*/ 133 h 133"/>
                  <a:gd name="T4" fmla="*/ 324 w 324"/>
                  <a:gd name="T5" fmla="*/ 28 h 133"/>
                  <a:gd name="T6" fmla="*/ 315 w 324"/>
                  <a:gd name="T7" fmla="*/ 0 h 133"/>
                  <a:gd name="T8" fmla="*/ 0 w 324"/>
                  <a:gd name="T9" fmla="*/ 0 h 133"/>
                </a:gdLst>
                <a:ahLst/>
                <a:cxnLst>
                  <a:cxn ang="0">
                    <a:pos x="T0" y="T1"/>
                  </a:cxn>
                  <a:cxn ang="0">
                    <a:pos x="T2" y="T3"/>
                  </a:cxn>
                  <a:cxn ang="0">
                    <a:pos x="T4" y="T5"/>
                  </a:cxn>
                  <a:cxn ang="0">
                    <a:pos x="T6" y="T7"/>
                  </a:cxn>
                  <a:cxn ang="0">
                    <a:pos x="T8" y="T9"/>
                  </a:cxn>
                </a:cxnLst>
                <a:rect l="0" t="0" r="r" b="b"/>
                <a:pathLst>
                  <a:path w="324" h="133">
                    <a:moveTo>
                      <a:pt x="0" y="0"/>
                    </a:moveTo>
                    <a:lnTo>
                      <a:pt x="61" y="133"/>
                    </a:lnTo>
                    <a:lnTo>
                      <a:pt x="324" y="28"/>
                    </a:lnTo>
                    <a:lnTo>
                      <a:pt x="315"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Freeform 146"/>
              <p:cNvSpPr>
                <a:spLocks/>
              </p:cNvSpPr>
              <p:nvPr userDrawn="1"/>
            </p:nvSpPr>
            <p:spPr bwMode="auto">
              <a:xfrm>
                <a:off x="3599" y="960"/>
                <a:ext cx="93" cy="50"/>
              </a:xfrm>
              <a:custGeom>
                <a:avLst/>
                <a:gdLst>
                  <a:gd name="T0" fmla="*/ 84 w 93"/>
                  <a:gd name="T1" fmla="*/ 0 h 50"/>
                  <a:gd name="T2" fmla="*/ 0 w 93"/>
                  <a:gd name="T3" fmla="*/ 0 h 50"/>
                  <a:gd name="T4" fmla="*/ 37 w 93"/>
                  <a:gd name="T5" fmla="*/ 50 h 50"/>
                  <a:gd name="T6" fmla="*/ 93 w 93"/>
                  <a:gd name="T7" fmla="*/ 28 h 50"/>
                  <a:gd name="T8" fmla="*/ 84 w 93"/>
                  <a:gd name="T9" fmla="*/ 0 h 50"/>
                </a:gdLst>
                <a:ahLst/>
                <a:cxnLst>
                  <a:cxn ang="0">
                    <a:pos x="T0" y="T1"/>
                  </a:cxn>
                  <a:cxn ang="0">
                    <a:pos x="T2" y="T3"/>
                  </a:cxn>
                  <a:cxn ang="0">
                    <a:pos x="T4" y="T5"/>
                  </a:cxn>
                  <a:cxn ang="0">
                    <a:pos x="T6" y="T7"/>
                  </a:cxn>
                  <a:cxn ang="0">
                    <a:pos x="T8" y="T9"/>
                  </a:cxn>
                </a:cxnLst>
                <a:rect l="0" t="0" r="r" b="b"/>
                <a:pathLst>
                  <a:path w="93" h="50">
                    <a:moveTo>
                      <a:pt x="84" y="0"/>
                    </a:moveTo>
                    <a:lnTo>
                      <a:pt x="0" y="0"/>
                    </a:lnTo>
                    <a:lnTo>
                      <a:pt x="37" y="50"/>
                    </a:lnTo>
                    <a:lnTo>
                      <a:pt x="93" y="28"/>
                    </a:lnTo>
                    <a:lnTo>
                      <a:pt x="84" y="0"/>
                    </a:ln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Freeform 147"/>
              <p:cNvSpPr>
                <a:spLocks/>
              </p:cNvSpPr>
              <p:nvPr userDrawn="1"/>
            </p:nvSpPr>
            <p:spPr bwMode="auto">
              <a:xfrm>
                <a:off x="3599" y="960"/>
                <a:ext cx="93" cy="50"/>
              </a:xfrm>
              <a:custGeom>
                <a:avLst/>
                <a:gdLst>
                  <a:gd name="T0" fmla="*/ 84 w 93"/>
                  <a:gd name="T1" fmla="*/ 0 h 50"/>
                  <a:gd name="T2" fmla="*/ 0 w 93"/>
                  <a:gd name="T3" fmla="*/ 0 h 50"/>
                  <a:gd name="T4" fmla="*/ 37 w 93"/>
                  <a:gd name="T5" fmla="*/ 50 h 50"/>
                  <a:gd name="T6" fmla="*/ 93 w 93"/>
                  <a:gd name="T7" fmla="*/ 28 h 50"/>
                  <a:gd name="T8" fmla="*/ 84 w 93"/>
                  <a:gd name="T9" fmla="*/ 0 h 50"/>
                </a:gdLst>
                <a:ahLst/>
                <a:cxnLst>
                  <a:cxn ang="0">
                    <a:pos x="T0" y="T1"/>
                  </a:cxn>
                  <a:cxn ang="0">
                    <a:pos x="T2" y="T3"/>
                  </a:cxn>
                  <a:cxn ang="0">
                    <a:pos x="T4" y="T5"/>
                  </a:cxn>
                  <a:cxn ang="0">
                    <a:pos x="T6" y="T7"/>
                  </a:cxn>
                  <a:cxn ang="0">
                    <a:pos x="T8" y="T9"/>
                  </a:cxn>
                </a:cxnLst>
                <a:rect l="0" t="0" r="r" b="b"/>
                <a:pathLst>
                  <a:path w="93" h="50">
                    <a:moveTo>
                      <a:pt x="84" y="0"/>
                    </a:moveTo>
                    <a:lnTo>
                      <a:pt x="0" y="0"/>
                    </a:lnTo>
                    <a:lnTo>
                      <a:pt x="37" y="50"/>
                    </a:lnTo>
                    <a:lnTo>
                      <a:pt x="93" y="28"/>
                    </a:lnTo>
                    <a:lnTo>
                      <a:pt x="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Freeform 148"/>
              <p:cNvSpPr>
                <a:spLocks/>
              </p:cNvSpPr>
              <p:nvPr userDrawn="1"/>
            </p:nvSpPr>
            <p:spPr bwMode="auto">
              <a:xfrm>
                <a:off x="3793" y="1376"/>
                <a:ext cx="84" cy="29"/>
              </a:xfrm>
              <a:custGeom>
                <a:avLst/>
                <a:gdLst>
                  <a:gd name="T0" fmla="*/ 0 w 76"/>
                  <a:gd name="T1" fmla="*/ 0 h 26"/>
                  <a:gd name="T2" fmla="*/ 76 w 76"/>
                  <a:gd name="T3" fmla="*/ 26 h 26"/>
                  <a:gd name="T4" fmla="*/ 71 w 76"/>
                  <a:gd name="T5" fmla="*/ 10 h 26"/>
                  <a:gd name="T6" fmla="*/ 0 w 76"/>
                  <a:gd name="T7" fmla="*/ 0 h 26"/>
                </a:gdLst>
                <a:ahLst/>
                <a:cxnLst>
                  <a:cxn ang="0">
                    <a:pos x="T0" y="T1"/>
                  </a:cxn>
                  <a:cxn ang="0">
                    <a:pos x="T2" y="T3"/>
                  </a:cxn>
                  <a:cxn ang="0">
                    <a:pos x="T4" y="T5"/>
                  </a:cxn>
                  <a:cxn ang="0">
                    <a:pos x="T6" y="T7"/>
                  </a:cxn>
                </a:cxnLst>
                <a:rect l="0" t="0" r="r" b="b"/>
                <a:pathLst>
                  <a:path w="76" h="26">
                    <a:moveTo>
                      <a:pt x="0" y="0"/>
                    </a:moveTo>
                    <a:cubicBezTo>
                      <a:pt x="76" y="26"/>
                      <a:pt x="76" y="26"/>
                      <a:pt x="76" y="26"/>
                    </a:cubicBezTo>
                    <a:cubicBezTo>
                      <a:pt x="74" y="20"/>
                      <a:pt x="71" y="10"/>
                      <a:pt x="71" y="10"/>
                    </a:cubicBezTo>
                    <a:lnTo>
                      <a:pt x="0" y="0"/>
                    </a:ln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Freeform 149"/>
              <p:cNvSpPr>
                <a:spLocks/>
              </p:cNvSpPr>
              <p:nvPr userDrawn="1"/>
            </p:nvSpPr>
            <p:spPr bwMode="auto">
              <a:xfrm>
                <a:off x="3476" y="1035"/>
                <a:ext cx="220" cy="85"/>
              </a:xfrm>
              <a:custGeom>
                <a:avLst/>
                <a:gdLst>
                  <a:gd name="T0" fmla="*/ 0 w 220"/>
                  <a:gd name="T1" fmla="*/ 85 h 85"/>
                  <a:gd name="T2" fmla="*/ 210 w 220"/>
                  <a:gd name="T3" fmla="*/ 0 h 85"/>
                  <a:gd name="T4" fmla="*/ 220 w 220"/>
                  <a:gd name="T5" fmla="*/ 37 h 85"/>
                  <a:gd name="T6" fmla="*/ 0 w 220"/>
                  <a:gd name="T7" fmla="*/ 85 h 85"/>
                </a:gdLst>
                <a:ahLst/>
                <a:cxnLst>
                  <a:cxn ang="0">
                    <a:pos x="T0" y="T1"/>
                  </a:cxn>
                  <a:cxn ang="0">
                    <a:pos x="T2" y="T3"/>
                  </a:cxn>
                  <a:cxn ang="0">
                    <a:pos x="T4" y="T5"/>
                  </a:cxn>
                  <a:cxn ang="0">
                    <a:pos x="T6" y="T7"/>
                  </a:cxn>
                </a:cxnLst>
                <a:rect l="0" t="0" r="r" b="b"/>
                <a:pathLst>
                  <a:path w="220" h="85">
                    <a:moveTo>
                      <a:pt x="0" y="85"/>
                    </a:moveTo>
                    <a:lnTo>
                      <a:pt x="210" y="0"/>
                    </a:lnTo>
                    <a:lnTo>
                      <a:pt x="220" y="37"/>
                    </a:lnTo>
                    <a:lnTo>
                      <a:pt x="0" y="85"/>
                    </a:ln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Freeform 150"/>
              <p:cNvSpPr>
                <a:spLocks/>
              </p:cNvSpPr>
              <p:nvPr userDrawn="1"/>
            </p:nvSpPr>
            <p:spPr bwMode="auto">
              <a:xfrm>
                <a:off x="3399" y="2616"/>
                <a:ext cx="287" cy="386"/>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Freeform 151"/>
              <p:cNvSpPr>
                <a:spLocks noEditPoints="1"/>
              </p:cNvSpPr>
              <p:nvPr userDrawn="1"/>
            </p:nvSpPr>
            <p:spPr bwMode="auto">
              <a:xfrm>
                <a:off x="3441" y="2644"/>
                <a:ext cx="347" cy="326"/>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Freeform 152"/>
              <p:cNvSpPr>
                <a:spLocks noEditPoints="1"/>
              </p:cNvSpPr>
              <p:nvPr userDrawn="1"/>
            </p:nvSpPr>
            <p:spPr bwMode="auto">
              <a:xfrm>
                <a:off x="3441" y="2644"/>
                <a:ext cx="199" cy="326"/>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Freeform 153"/>
              <p:cNvSpPr>
                <a:spLocks/>
              </p:cNvSpPr>
              <p:nvPr userDrawn="1"/>
            </p:nvSpPr>
            <p:spPr bwMode="auto">
              <a:xfrm>
                <a:off x="4961" y="2679"/>
                <a:ext cx="46" cy="46"/>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154"/>
              <p:cNvSpPr>
                <a:spLocks/>
              </p:cNvSpPr>
              <p:nvPr userDrawn="1"/>
            </p:nvSpPr>
            <p:spPr bwMode="auto">
              <a:xfrm>
                <a:off x="4957" y="2723"/>
                <a:ext cx="46" cy="44"/>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155"/>
              <p:cNvSpPr>
                <a:spLocks/>
              </p:cNvSpPr>
              <p:nvPr userDrawn="1"/>
            </p:nvSpPr>
            <p:spPr bwMode="auto">
              <a:xfrm>
                <a:off x="4953" y="2765"/>
                <a:ext cx="45" cy="45"/>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156"/>
              <p:cNvSpPr>
                <a:spLocks/>
              </p:cNvSpPr>
              <p:nvPr userDrawn="1"/>
            </p:nvSpPr>
            <p:spPr bwMode="auto">
              <a:xfrm>
                <a:off x="4948" y="2808"/>
                <a:ext cx="46" cy="44"/>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157"/>
              <p:cNvSpPr>
                <a:spLocks/>
              </p:cNvSpPr>
              <p:nvPr userDrawn="1"/>
            </p:nvSpPr>
            <p:spPr bwMode="auto">
              <a:xfrm>
                <a:off x="4944" y="2850"/>
                <a:ext cx="45" cy="46"/>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158"/>
              <p:cNvSpPr>
                <a:spLocks/>
              </p:cNvSpPr>
              <p:nvPr userDrawn="1"/>
            </p:nvSpPr>
            <p:spPr bwMode="auto">
              <a:xfrm>
                <a:off x="4939" y="2894"/>
                <a:ext cx="45" cy="44"/>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Freeform 159"/>
              <p:cNvSpPr>
                <a:spLocks/>
              </p:cNvSpPr>
              <p:nvPr userDrawn="1"/>
            </p:nvSpPr>
            <p:spPr bwMode="auto">
              <a:xfrm>
                <a:off x="3030" y="2824"/>
                <a:ext cx="401" cy="162"/>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Freeform 160"/>
              <p:cNvSpPr>
                <a:spLocks/>
              </p:cNvSpPr>
              <p:nvPr userDrawn="1"/>
            </p:nvSpPr>
            <p:spPr bwMode="auto">
              <a:xfrm>
                <a:off x="3051" y="2911"/>
                <a:ext cx="56" cy="71"/>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Freeform 161"/>
              <p:cNvSpPr>
                <a:spLocks/>
              </p:cNvSpPr>
              <p:nvPr userDrawn="1"/>
            </p:nvSpPr>
            <p:spPr bwMode="auto">
              <a:xfrm>
                <a:off x="3063" y="2754"/>
                <a:ext cx="343" cy="593"/>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Freeform 162"/>
              <p:cNvSpPr>
                <a:spLocks/>
              </p:cNvSpPr>
              <p:nvPr userDrawn="1"/>
            </p:nvSpPr>
            <p:spPr bwMode="auto">
              <a:xfrm>
                <a:off x="3063" y="2852"/>
                <a:ext cx="183" cy="510"/>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Freeform 163"/>
              <p:cNvSpPr>
                <a:spLocks/>
              </p:cNvSpPr>
              <p:nvPr userDrawn="1"/>
            </p:nvSpPr>
            <p:spPr bwMode="auto">
              <a:xfrm>
                <a:off x="3100" y="3126"/>
                <a:ext cx="294" cy="126"/>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Freeform 164"/>
              <p:cNvSpPr>
                <a:spLocks/>
              </p:cNvSpPr>
              <p:nvPr userDrawn="1"/>
            </p:nvSpPr>
            <p:spPr bwMode="auto">
              <a:xfrm>
                <a:off x="3101" y="3126"/>
                <a:ext cx="292" cy="126"/>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Freeform 165"/>
              <p:cNvSpPr>
                <a:spLocks/>
              </p:cNvSpPr>
              <p:nvPr userDrawn="1"/>
            </p:nvSpPr>
            <p:spPr bwMode="auto">
              <a:xfrm>
                <a:off x="3152" y="3135"/>
                <a:ext cx="190" cy="108"/>
              </a:xfrm>
              <a:custGeom>
                <a:avLst/>
                <a:gdLst>
                  <a:gd name="T0" fmla="*/ 190 w 190"/>
                  <a:gd name="T1" fmla="*/ 76 h 108"/>
                  <a:gd name="T2" fmla="*/ 14 w 190"/>
                  <a:gd name="T3" fmla="*/ 108 h 108"/>
                  <a:gd name="T4" fmla="*/ 0 w 190"/>
                  <a:gd name="T5" fmla="*/ 33 h 108"/>
                  <a:gd name="T6" fmla="*/ 177 w 190"/>
                  <a:gd name="T7" fmla="*/ 0 h 108"/>
                  <a:gd name="T8" fmla="*/ 190 w 190"/>
                  <a:gd name="T9" fmla="*/ 76 h 108"/>
                </a:gdLst>
                <a:ahLst/>
                <a:cxnLst>
                  <a:cxn ang="0">
                    <a:pos x="T0" y="T1"/>
                  </a:cxn>
                  <a:cxn ang="0">
                    <a:pos x="T2" y="T3"/>
                  </a:cxn>
                  <a:cxn ang="0">
                    <a:pos x="T4" y="T5"/>
                  </a:cxn>
                  <a:cxn ang="0">
                    <a:pos x="T6" y="T7"/>
                  </a:cxn>
                  <a:cxn ang="0">
                    <a:pos x="T8" y="T9"/>
                  </a:cxn>
                </a:cxnLst>
                <a:rect l="0" t="0" r="r" b="b"/>
                <a:pathLst>
                  <a:path w="190" h="108">
                    <a:moveTo>
                      <a:pt x="190" y="76"/>
                    </a:moveTo>
                    <a:lnTo>
                      <a:pt x="14" y="108"/>
                    </a:lnTo>
                    <a:lnTo>
                      <a:pt x="0" y="33"/>
                    </a:lnTo>
                    <a:lnTo>
                      <a:pt x="177" y="0"/>
                    </a:lnTo>
                    <a:lnTo>
                      <a:pt x="190"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166"/>
              <p:cNvSpPr>
                <a:spLocks/>
              </p:cNvSpPr>
              <p:nvPr userDrawn="1"/>
            </p:nvSpPr>
            <p:spPr bwMode="auto">
              <a:xfrm>
                <a:off x="3267" y="3153"/>
                <a:ext cx="53" cy="56"/>
              </a:xfrm>
              <a:custGeom>
                <a:avLst/>
                <a:gdLst>
                  <a:gd name="T0" fmla="*/ 53 w 53"/>
                  <a:gd name="T1" fmla="*/ 48 h 56"/>
                  <a:gd name="T2" fmla="*/ 9 w 53"/>
                  <a:gd name="T3" fmla="*/ 56 h 56"/>
                  <a:gd name="T4" fmla="*/ 0 w 53"/>
                  <a:gd name="T5" fmla="*/ 8 h 56"/>
                  <a:gd name="T6" fmla="*/ 44 w 53"/>
                  <a:gd name="T7" fmla="*/ 0 h 56"/>
                  <a:gd name="T8" fmla="*/ 53 w 53"/>
                  <a:gd name="T9" fmla="*/ 48 h 56"/>
                </a:gdLst>
                <a:ahLst/>
                <a:cxnLst>
                  <a:cxn ang="0">
                    <a:pos x="T0" y="T1"/>
                  </a:cxn>
                  <a:cxn ang="0">
                    <a:pos x="T2" y="T3"/>
                  </a:cxn>
                  <a:cxn ang="0">
                    <a:pos x="T4" y="T5"/>
                  </a:cxn>
                  <a:cxn ang="0">
                    <a:pos x="T6" y="T7"/>
                  </a:cxn>
                  <a:cxn ang="0">
                    <a:pos x="T8" y="T9"/>
                  </a:cxn>
                </a:cxnLst>
                <a:rect l="0" t="0" r="r" b="b"/>
                <a:pathLst>
                  <a:path w="53" h="56">
                    <a:moveTo>
                      <a:pt x="53" y="48"/>
                    </a:moveTo>
                    <a:lnTo>
                      <a:pt x="9" y="56"/>
                    </a:lnTo>
                    <a:lnTo>
                      <a:pt x="0" y="8"/>
                    </a:lnTo>
                    <a:lnTo>
                      <a:pt x="44" y="0"/>
                    </a:lnTo>
                    <a:lnTo>
                      <a:pt x="53" y="4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Freeform 167"/>
              <p:cNvSpPr>
                <a:spLocks/>
              </p:cNvSpPr>
              <p:nvPr userDrawn="1"/>
            </p:nvSpPr>
            <p:spPr bwMode="auto">
              <a:xfrm>
                <a:off x="3283" y="3172"/>
                <a:ext cx="22" cy="23"/>
              </a:xfrm>
              <a:custGeom>
                <a:avLst/>
                <a:gdLst>
                  <a:gd name="T0" fmla="*/ 14 w 22"/>
                  <a:gd name="T1" fmla="*/ 1 h 23"/>
                  <a:gd name="T2" fmla="*/ 4 w 22"/>
                  <a:gd name="T3" fmla="*/ 0 h 23"/>
                  <a:gd name="T4" fmla="*/ 4 w 22"/>
                  <a:gd name="T5" fmla="*/ 8 h 23"/>
                  <a:gd name="T6" fmla="*/ 7 w 22"/>
                  <a:gd name="T7" fmla="*/ 8 h 23"/>
                  <a:gd name="T8" fmla="*/ 7 w 22"/>
                  <a:gd name="T9" fmla="*/ 4 h 23"/>
                  <a:gd name="T10" fmla="*/ 10 w 22"/>
                  <a:gd name="T11" fmla="*/ 4 h 23"/>
                  <a:gd name="T12" fmla="*/ 8 w 22"/>
                  <a:gd name="T13" fmla="*/ 12 h 23"/>
                  <a:gd name="T14" fmla="*/ 7 w 22"/>
                  <a:gd name="T15" fmla="*/ 18 h 23"/>
                  <a:gd name="T16" fmla="*/ 0 w 22"/>
                  <a:gd name="T17" fmla="*/ 21 h 23"/>
                  <a:gd name="T18" fmla="*/ 1 w 22"/>
                  <a:gd name="T19" fmla="*/ 23 h 23"/>
                  <a:gd name="T20" fmla="*/ 9 w 22"/>
                  <a:gd name="T21" fmla="*/ 20 h 23"/>
                  <a:gd name="T22" fmla="*/ 11 w 22"/>
                  <a:gd name="T23" fmla="*/ 12 h 23"/>
                  <a:gd name="T24" fmla="*/ 16 w 22"/>
                  <a:gd name="T25" fmla="*/ 16 h 23"/>
                  <a:gd name="T26" fmla="*/ 13 w 22"/>
                  <a:gd name="T27" fmla="*/ 22 h 23"/>
                  <a:gd name="T28" fmla="*/ 16 w 22"/>
                  <a:gd name="T29" fmla="*/ 22 h 23"/>
                  <a:gd name="T30" fmla="*/ 19 w 22"/>
                  <a:gd name="T31" fmla="*/ 14 h 23"/>
                  <a:gd name="T32" fmla="*/ 13 w 22"/>
                  <a:gd name="T33" fmla="*/ 11 h 23"/>
                  <a:gd name="T34" fmla="*/ 14 w 22"/>
                  <a:gd name="T35" fmla="*/ 6 h 23"/>
                  <a:gd name="T36" fmla="*/ 18 w 22"/>
                  <a:gd name="T37" fmla="*/ 9 h 23"/>
                  <a:gd name="T38" fmla="*/ 22 w 22"/>
                  <a:gd name="T39" fmla="*/ 7 h 23"/>
                  <a:gd name="T40" fmla="*/ 20 w 22"/>
                  <a:gd name="T41" fmla="*/ 4 h 23"/>
                  <a:gd name="T42" fmla="*/ 18 w 22"/>
                  <a:gd name="T43" fmla="*/ 6 h 23"/>
                  <a:gd name="T44" fmla="*/ 14 w 22"/>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23">
                    <a:moveTo>
                      <a:pt x="14" y="1"/>
                    </a:moveTo>
                    <a:lnTo>
                      <a:pt x="4" y="0"/>
                    </a:lnTo>
                    <a:lnTo>
                      <a:pt x="4" y="8"/>
                    </a:lnTo>
                    <a:lnTo>
                      <a:pt x="7" y="8"/>
                    </a:lnTo>
                    <a:lnTo>
                      <a:pt x="7" y="4"/>
                    </a:lnTo>
                    <a:lnTo>
                      <a:pt x="10" y="4"/>
                    </a:lnTo>
                    <a:lnTo>
                      <a:pt x="8" y="12"/>
                    </a:lnTo>
                    <a:lnTo>
                      <a:pt x="7" y="18"/>
                    </a:lnTo>
                    <a:lnTo>
                      <a:pt x="0" y="21"/>
                    </a:lnTo>
                    <a:lnTo>
                      <a:pt x="1" y="23"/>
                    </a:lnTo>
                    <a:lnTo>
                      <a:pt x="9" y="20"/>
                    </a:lnTo>
                    <a:lnTo>
                      <a:pt x="11" y="12"/>
                    </a:lnTo>
                    <a:lnTo>
                      <a:pt x="16" y="16"/>
                    </a:lnTo>
                    <a:lnTo>
                      <a:pt x="13" y="22"/>
                    </a:lnTo>
                    <a:lnTo>
                      <a:pt x="16" y="22"/>
                    </a:lnTo>
                    <a:lnTo>
                      <a:pt x="19" y="14"/>
                    </a:lnTo>
                    <a:lnTo>
                      <a:pt x="13" y="11"/>
                    </a:lnTo>
                    <a:lnTo>
                      <a:pt x="14" y="6"/>
                    </a:lnTo>
                    <a:lnTo>
                      <a:pt x="18" y="9"/>
                    </a:lnTo>
                    <a:lnTo>
                      <a:pt x="22" y="7"/>
                    </a:lnTo>
                    <a:lnTo>
                      <a:pt x="20" y="4"/>
                    </a:lnTo>
                    <a:lnTo>
                      <a:pt x="18" y="6"/>
                    </a:lnTo>
                    <a:lnTo>
                      <a:pt x="14"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5" name="Freeform 168"/>
              <p:cNvSpPr>
                <a:spLocks/>
              </p:cNvSpPr>
              <p:nvPr userDrawn="1"/>
            </p:nvSpPr>
            <p:spPr bwMode="auto">
              <a:xfrm>
                <a:off x="3293" y="3165"/>
                <a:ext cx="7" cy="7"/>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6" name="Freeform 169"/>
              <p:cNvSpPr>
                <a:spLocks/>
              </p:cNvSpPr>
              <p:nvPr userDrawn="1"/>
            </p:nvSpPr>
            <p:spPr bwMode="auto">
              <a:xfrm>
                <a:off x="3222" y="3161"/>
                <a:ext cx="52" cy="56"/>
              </a:xfrm>
              <a:custGeom>
                <a:avLst/>
                <a:gdLst>
                  <a:gd name="T0" fmla="*/ 52 w 52"/>
                  <a:gd name="T1" fmla="*/ 48 h 56"/>
                  <a:gd name="T2" fmla="*/ 7 w 52"/>
                  <a:gd name="T3" fmla="*/ 56 h 56"/>
                  <a:gd name="T4" fmla="*/ 0 w 52"/>
                  <a:gd name="T5" fmla="*/ 9 h 56"/>
                  <a:gd name="T6" fmla="*/ 43 w 52"/>
                  <a:gd name="T7" fmla="*/ 0 h 56"/>
                  <a:gd name="T8" fmla="*/ 52 w 52"/>
                  <a:gd name="T9" fmla="*/ 48 h 56"/>
                </a:gdLst>
                <a:ahLst/>
                <a:cxnLst>
                  <a:cxn ang="0">
                    <a:pos x="T0" y="T1"/>
                  </a:cxn>
                  <a:cxn ang="0">
                    <a:pos x="T2" y="T3"/>
                  </a:cxn>
                  <a:cxn ang="0">
                    <a:pos x="T4" y="T5"/>
                  </a:cxn>
                  <a:cxn ang="0">
                    <a:pos x="T6" y="T7"/>
                  </a:cxn>
                  <a:cxn ang="0">
                    <a:pos x="T8" y="T9"/>
                  </a:cxn>
                </a:cxnLst>
                <a:rect l="0" t="0" r="r" b="b"/>
                <a:pathLst>
                  <a:path w="52" h="56">
                    <a:moveTo>
                      <a:pt x="52" y="48"/>
                    </a:moveTo>
                    <a:lnTo>
                      <a:pt x="7" y="56"/>
                    </a:lnTo>
                    <a:lnTo>
                      <a:pt x="0" y="9"/>
                    </a:lnTo>
                    <a:lnTo>
                      <a:pt x="43" y="0"/>
                    </a:lnTo>
                    <a:lnTo>
                      <a:pt x="52" y="4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7" name="Freeform 170"/>
              <p:cNvSpPr>
                <a:spLocks/>
              </p:cNvSpPr>
              <p:nvPr userDrawn="1"/>
            </p:nvSpPr>
            <p:spPr bwMode="auto">
              <a:xfrm>
                <a:off x="3233" y="3181"/>
                <a:ext cx="29" cy="20"/>
              </a:xfrm>
              <a:custGeom>
                <a:avLst/>
                <a:gdLst>
                  <a:gd name="T0" fmla="*/ 0 w 29"/>
                  <a:gd name="T1" fmla="*/ 4 h 20"/>
                  <a:gd name="T2" fmla="*/ 3 w 29"/>
                  <a:gd name="T3" fmla="*/ 20 h 20"/>
                  <a:gd name="T4" fmla="*/ 29 w 29"/>
                  <a:gd name="T5" fmla="*/ 15 h 20"/>
                  <a:gd name="T6" fmla="*/ 27 w 29"/>
                  <a:gd name="T7" fmla="*/ 0 h 20"/>
                  <a:gd name="T8" fmla="*/ 15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5"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8" name="Freeform 171"/>
              <p:cNvSpPr>
                <a:spLocks/>
              </p:cNvSpPr>
              <p:nvPr userDrawn="1"/>
            </p:nvSpPr>
            <p:spPr bwMode="auto">
              <a:xfrm>
                <a:off x="3233" y="3178"/>
                <a:ext cx="25" cy="13"/>
              </a:xfrm>
              <a:custGeom>
                <a:avLst/>
                <a:gdLst>
                  <a:gd name="T0" fmla="*/ 0 w 25"/>
                  <a:gd name="T1" fmla="*/ 4 h 13"/>
                  <a:gd name="T2" fmla="*/ 0 w 25"/>
                  <a:gd name="T3" fmla="*/ 5 h 13"/>
                  <a:gd name="T4" fmla="*/ 14 w 25"/>
                  <a:gd name="T5" fmla="*/ 13 h 13"/>
                  <a:gd name="T6" fmla="*/ 25 w 25"/>
                  <a:gd name="T7" fmla="*/ 1 h 13"/>
                  <a:gd name="T8" fmla="*/ 25 w 25"/>
                  <a:gd name="T9" fmla="*/ 0 h 13"/>
                  <a:gd name="T10" fmla="*/ 0 w 25"/>
                  <a:gd name="T11" fmla="*/ 4 h 13"/>
                </a:gdLst>
                <a:ahLst/>
                <a:cxnLst>
                  <a:cxn ang="0">
                    <a:pos x="T0" y="T1"/>
                  </a:cxn>
                  <a:cxn ang="0">
                    <a:pos x="T2" y="T3"/>
                  </a:cxn>
                  <a:cxn ang="0">
                    <a:pos x="T4" y="T5"/>
                  </a:cxn>
                  <a:cxn ang="0">
                    <a:pos x="T6" y="T7"/>
                  </a:cxn>
                  <a:cxn ang="0">
                    <a:pos x="T8" y="T9"/>
                  </a:cxn>
                  <a:cxn ang="0">
                    <a:pos x="T10" y="T11"/>
                  </a:cxn>
                </a:cxnLst>
                <a:rect l="0" t="0" r="r" b="b"/>
                <a:pathLst>
                  <a:path w="25" h="13">
                    <a:moveTo>
                      <a:pt x="0" y="4"/>
                    </a:moveTo>
                    <a:lnTo>
                      <a:pt x="0" y="5"/>
                    </a:lnTo>
                    <a:lnTo>
                      <a:pt x="14" y="13"/>
                    </a:lnTo>
                    <a:lnTo>
                      <a:pt x="25" y="1"/>
                    </a:lnTo>
                    <a:lnTo>
                      <a:pt x="25" y="0"/>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9" name="Freeform 172"/>
              <p:cNvSpPr>
                <a:spLocks/>
              </p:cNvSpPr>
              <p:nvPr userDrawn="1"/>
            </p:nvSpPr>
            <p:spPr bwMode="auto">
              <a:xfrm>
                <a:off x="3175" y="3170"/>
                <a:ext cx="52" cy="55"/>
              </a:xfrm>
              <a:custGeom>
                <a:avLst/>
                <a:gdLst>
                  <a:gd name="T0" fmla="*/ 52 w 52"/>
                  <a:gd name="T1" fmla="*/ 47 h 55"/>
                  <a:gd name="T2" fmla="*/ 9 w 52"/>
                  <a:gd name="T3" fmla="*/ 55 h 55"/>
                  <a:gd name="T4" fmla="*/ 0 w 52"/>
                  <a:gd name="T5" fmla="*/ 8 h 55"/>
                  <a:gd name="T6" fmla="*/ 44 w 52"/>
                  <a:gd name="T7" fmla="*/ 0 h 55"/>
                  <a:gd name="T8" fmla="*/ 52 w 52"/>
                  <a:gd name="T9" fmla="*/ 47 h 55"/>
                </a:gdLst>
                <a:ahLst/>
                <a:cxnLst>
                  <a:cxn ang="0">
                    <a:pos x="T0" y="T1"/>
                  </a:cxn>
                  <a:cxn ang="0">
                    <a:pos x="T2" y="T3"/>
                  </a:cxn>
                  <a:cxn ang="0">
                    <a:pos x="T4" y="T5"/>
                  </a:cxn>
                  <a:cxn ang="0">
                    <a:pos x="T6" y="T7"/>
                  </a:cxn>
                  <a:cxn ang="0">
                    <a:pos x="T8" y="T9"/>
                  </a:cxn>
                </a:cxnLst>
                <a:rect l="0" t="0" r="r" b="b"/>
                <a:pathLst>
                  <a:path w="52" h="55">
                    <a:moveTo>
                      <a:pt x="52" y="47"/>
                    </a:moveTo>
                    <a:lnTo>
                      <a:pt x="9" y="55"/>
                    </a:lnTo>
                    <a:lnTo>
                      <a:pt x="0" y="8"/>
                    </a:lnTo>
                    <a:lnTo>
                      <a:pt x="44" y="0"/>
                    </a:lnTo>
                    <a:lnTo>
                      <a:pt x="52" y="47"/>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0" name="Freeform 173"/>
              <p:cNvSpPr>
                <a:spLocks/>
              </p:cNvSpPr>
              <p:nvPr userDrawn="1"/>
            </p:nvSpPr>
            <p:spPr bwMode="auto">
              <a:xfrm>
                <a:off x="3188" y="3185"/>
                <a:ext cx="26" cy="24"/>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1" name="Freeform 174"/>
              <p:cNvSpPr>
                <a:spLocks/>
              </p:cNvSpPr>
              <p:nvPr userDrawn="1"/>
            </p:nvSpPr>
            <p:spPr bwMode="auto">
              <a:xfrm>
                <a:off x="3156" y="3281"/>
                <a:ext cx="288" cy="164"/>
              </a:xfrm>
              <a:custGeom>
                <a:avLst/>
                <a:gdLst>
                  <a:gd name="T0" fmla="*/ 288 w 288"/>
                  <a:gd name="T1" fmla="*/ 164 h 164"/>
                  <a:gd name="T2" fmla="*/ 240 w 288"/>
                  <a:gd name="T3" fmla="*/ 0 h 164"/>
                  <a:gd name="T4" fmla="*/ 0 w 288"/>
                  <a:gd name="T5" fmla="*/ 36 h 164"/>
                  <a:gd name="T6" fmla="*/ 18 w 288"/>
                  <a:gd name="T7" fmla="*/ 164 h 164"/>
                  <a:gd name="T8" fmla="*/ 288 w 288"/>
                  <a:gd name="T9" fmla="*/ 164 h 164"/>
                </a:gdLst>
                <a:ahLst/>
                <a:cxnLst>
                  <a:cxn ang="0">
                    <a:pos x="T0" y="T1"/>
                  </a:cxn>
                  <a:cxn ang="0">
                    <a:pos x="T2" y="T3"/>
                  </a:cxn>
                  <a:cxn ang="0">
                    <a:pos x="T4" y="T5"/>
                  </a:cxn>
                  <a:cxn ang="0">
                    <a:pos x="T6" y="T7"/>
                  </a:cxn>
                  <a:cxn ang="0">
                    <a:pos x="T8" y="T9"/>
                  </a:cxn>
                </a:cxnLst>
                <a:rect l="0" t="0" r="r" b="b"/>
                <a:pathLst>
                  <a:path w="288" h="164">
                    <a:moveTo>
                      <a:pt x="288" y="164"/>
                    </a:moveTo>
                    <a:lnTo>
                      <a:pt x="240" y="0"/>
                    </a:lnTo>
                    <a:lnTo>
                      <a:pt x="0" y="36"/>
                    </a:lnTo>
                    <a:lnTo>
                      <a:pt x="18" y="164"/>
                    </a:lnTo>
                    <a:lnTo>
                      <a:pt x="288" y="164"/>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2" name="Freeform 175"/>
              <p:cNvSpPr>
                <a:spLocks/>
              </p:cNvSpPr>
              <p:nvPr userDrawn="1"/>
            </p:nvSpPr>
            <p:spPr bwMode="auto">
              <a:xfrm>
                <a:off x="3156" y="3306"/>
                <a:ext cx="122" cy="139"/>
              </a:xfrm>
              <a:custGeom>
                <a:avLst/>
                <a:gdLst>
                  <a:gd name="T0" fmla="*/ 122 w 122"/>
                  <a:gd name="T1" fmla="*/ 139 h 139"/>
                  <a:gd name="T2" fmla="*/ 18 w 122"/>
                  <a:gd name="T3" fmla="*/ 139 h 139"/>
                  <a:gd name="T4" fmla="*/ 0 w 122"/>
                  <a:gd name="T5" fmla="*/ 11 h 139"/>
                  <a:gd name="T6" fmla="*/ 75 w 122"/>
                  <a:gd name="T7" fmla="*/ 0 h 139"/>
                  <a:gd name="T8" fmla="*/ 122 w 122"/>
                  <a:gd name="T9" fmla="*/ 139 h 139"/>
                </a:gdLst>
                <a:ahLst/>
                <a:cxnLst>
                  <a:cxn ang="0">
                    <a:pos x="T0" y="T1"/>
                  </a:cxn>
                  <a:cxn ang="0">
                    <a:pos x="T2" y="T3"/>
                  </a:cxn>
                  <a:cxn ang="0">
                    <a:pos x="T4" y="T5"/>
                  </a:cxn>
                  <a:cxn ang="0">
                    <a:pos x="T6" y="T7"/>
                  </a:cxn>
                  <a:cxn ang="0">
                    <a:pos x="T8" y="T9"/>
                  </a:cxn>
                </a:cxnLst>
                <a:rect l="0" t="0" r="r" b="b"/>
                <a:pathLst>
                  <a:path w="122" h="139">
                    <a:moveTo>
                      <a:pt x="122" y="139"/>
                    </a:moveTo>
                    <a:lnTo>
                      <a:pt x="18" y="139"/>
                    </a:lnTo>
                    <a:lnTo>
                      <a:pt x="0" y="11"/>
                    </a:lnTo>
                    <a:lnTo>
                      <a:pt x="75" y="0"/>
                    </a:lnTo>
                    <a:lnTo>
                      <a:pt x="122" y="139"/>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3" name="Rectangle 176"/>
              <p:cNvSpPr>
                <a:spLocks noChangeArrowheads="1"/>
              </p:cNvSpPr>
              <p:nvPr userDrawn="1"/>
            </p:nvSpPr>
            <p:spPr bwMode="auto">
              <a:xfrm>
                <a:off x="3063" y="1600"/>
                <a:ext cx="104" cy="21"/>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4" name="Freeform 177"/>
              <p:cNvSpPr>
                <a:spLocks/>
              </p:cNvSpPr>
              <p:nvPr userDrawn="1"/>
            </p:nvSpPr>
            <p:spPr bwMode="auto">
              <a:xfrm>
                <a:off x="2810" y="2939"/>
                <a:ext cx="56" cy="21"/>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5" name="Freeform 178"/>
              <p:cNvSpPr>
                <a:spLocks/>
              </p:cNvSpPr>
              <p:nvPr userDrawn="1"/>
            </p:nvSpPr>
            <p:spPr bwMode="auto">
              <a:xfrm>
                <a:off x="2810" y="2939"/>
                <a:ext cx="56" cy="21"/>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6" name="Freeform 179"/>
              <p:cNvSpPr>
                <a:spLocks/>
              </p:cNvSpPr>
              <p:nvPr userDrawn="1"/>
            </p:nvSpPr>
            <p:spPr bwMode="auto">
              <a:xfrm>
                <a:off x="4201" y="2241"/>
                <a:ext cx="614" cy="907"/>
              </a:xfrm>
              <a:custGeom>
                <a:avLst/>
                <a:gdLst>
                  <a:gd name="T0" fmla="*/ 25 w 614"/>
                  <a:gd name="T1" fmla="*/ 0 h 907"/>
                  <a:gd name="T2" fmla="*/ 0 w 614"/>
                  <a:gd name="T3" fmla="*/ 18 h 907"/>
                  <a:gd name="T4" fmla="*/ 243 w 614"/>
                  <a:gd name="T5" fmla="*/ 386 h 907"/>
                  <a:gd name="T6" fmla="*/ 588 w 614"/>
                  <a:gd name="T7" fmla="*/ 907 h 907"/>
                  <a:gd name="T8" fmla="*/ 614 w 614"/>
                  <a:gd name="T9" fmla="*/ 890 h 907"/>
                  <a:gd name="T10" fmla="*/ 25 w 614"/>
                  <a:gd name="T11" fmla="*/ 0 h 907"/>
                </a:gdLst>
                <a:ahLst/>
                <a:cxnLst>
                  <a:cxn ang="0">
                    <a:pos x="T0" y="T1"/>
                  </a:cxn>
                  <a:cxn ang="0">
                    <a:pos x="T2" y="T3"/>
                  </a:cxn>
                  <a:cxn ang="0">
                    <a:pos x="T4" y="T5"/>
                  </a:cxn>
                  <a:cxn ang="0">
                    <a:pos x="T6" y="T7"/>
                  </a:cxn>
                  <a:cxn ang="0">
                    <a:pos x="T8" y="T9"/>
                  </a:cxn>
                  <a:cxn ang="0">
                    <a:pos x="T10" y="T11"/>
                  </a:cxn>
                </a:cxnLst>
                <a:rect l="0" t="0" r="r" b="b"/>
                <a:pathLst>
                  <a:path w="614" h="907">
                    <a:moveTo>
                      <a:pt x="25" y="0"/>
                    </a:moveTo>
                    <a:lnTo>
                      <a:pt x="0" y="18"/>
                    </a:lnTo>
                    <a:lnTo>
                      <a:pt x="243" y="386"/>
                    </a:lnTo>
                    <a:lnTo>
                      <a:pt x="588" y="907"/>
                    </a:lnTo>
                    <a:lnTo>
                      <a:pt x="614" y="890"/>
                    </a:lnTo>
                    <a:lnTo>
                      <a:pt x="25"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7" name="Freeform 180"/>
              <p:cNvSpPr>
                <a:spLocks/>
              </p:cNvSpPr>
              <p:nvPr userDrawn="1"/>
            </p:nvSpPr>
            <p:spPr bwMode="auto">
              <a:xfrm>
                <a:off x="4745" y="3064"/>
                <a:ext cx="36" cy="30"/>
              </a:xfrm>
              <a:custGeom>
                <a:avLst/>
                <a:gdLst>
                  <a:gd name="T0" fmla="*/ 36 w 36"/>
                  <a:gd name="T1" fmla="*/ 14 h 30"/>
                  <a:gd name="T2" fmla="*/ 9 w 36"/>
                  <a:gd name="T3" fmla="*/ 30 h 30"/>
                  <a:gd name="T4" fmla="*/ 9 w 36"/>
                  <a:gd name="T5" fmla="*/ 30 h 30"/>
                  <a:gd name="T6" fmla="*/ 0 w 36"/>
                  <a:gd name="T7" fmla="*/ 18 h 30"/>
                  <a:gd name="T8" fmla="*/ 27 w 36"/>
                  <a:gd name="T9" fmla="*/ 0 h 30"/>
                  <a:gd name="T10" fmla="*/ 36 w 36"/>
                  <a:gd name="T11" fmla="*/ 14 h 30"/>
                </a:gdLst>
                <a:ahLst/>
                <a:cxnLst>
                  <a:cxn ang="0">
                    <a:pos x="T0" y="T1"/>
                  </a:cxn>
                  <a:cxn ang="0">
                    <a:pos x="T2" y="T3"/>
                  </a:cxn>
                  <a:cxn ang="0">
                    <a:pos x="T4" y="T5"/>
                  </a:cxn>
                  <a:cxn ang="0">
                    <a:pos x="T6" y="T7"/>
                  </a:cxn>
                  <a:cxn ang="0">
                    <a:pos x="T8" y="T9"/>
                  </a:cxn>
                  <a:cxn ang="0">
                    <a:pos x="T10" y="T11"/>
                  </a:cxn>
                </a:cxnLst>
                <a:rect l="0" t="0" r="r" b="b"/>
                <a:pathLst>
                  <a:path w="36" h="30">
                    <a:moveTo>
                      <a:pt x="36" y="14"/>
                    </a:moveTo>
                    <a:lnTo>
                      <a:pt x="9" y="30"/>
                    </a:lnTo>
                    <a:lnTo>
                      <a:pt x="9" y="30"/>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8" name="Freeform 181"/>
              <p:cNvSpPr>
                <a:spLocks/>
              </p:cNvSpPr>
              <p:nvPr userDrawn="1"/>
            </p:nvSpPr>
            <p:spPr bwMode="auto">
              <a:xfrm>
                <a:off x="4727" y="3037"/>
                <a:ext cx="35" cy="31"/>
              </a:xfrm>
              <a:custGeom>
                <a:avLst/>
                <a:gdLst>
                  <a:gd name="T0" fmla="*/ 35 w 35"/>
                  <a:gd name="T1" fmla="*/ 13 h 31"/>
                  <a:gd name="T2" fmla="*/ 8 w 35"/>
                  <a:gd name="T3" fmla="*/ 31 h 31"/>
                  <a:gd name="T4" fmla="*/ 8 w 35"/>
                  <a:gd name="T5" fmla="*/ 31 h 31"/>
                  <a:gd name="T6" fmla="*/ 0 w 35"/>
                  <a:gd name="T7" fmla="*/ 17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7"/>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9" name="Freeform 182"/>
              <p:cNvSpPr>
                <a:spLocks/>
              </p:cNvSpPr>
              <p:nvPr userDrawn="1"/>
            </p:nvSpPr>
            <p:spPr bwMode="auto">
              <a:xfrm>
                <a:off x="4708" y="3009"/>
                <a:ext cx="36" cy="31"/>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0" name="Freeform 183"/>
              <p:cNvSpPr>
                <a:spLocks/>
              </p:cNvSpPr>
              <p:nvPr userDrawn="1"/>
            </p:nvSpPr>
            <p:spPr bwMode="auto">
              <a:xfrm>
                <a:off x="4690" y="2981"/>
                <a:ext cx="36" cy="31"/>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1" name="Freeform 184"/>
              <p:cNvSpPr>
                <a:spLocks/>
              </p:cNvSpPr>
              <p:nvPr userDrawn="1"/>
            </p:nvSpPr>
            <p:spPr bwMode="auto">
              <a:xfrm>
                <a:off x="4673" y="2955"/>
                <a:ext cx="34" cy="29"/>
              </a:xfrm>
              <a:custGeom>
                <a:avLst/>
                <a:gdLst>
                  <a:gd name="T0" fmla="*/ 34 w 34"/>
                  <a:gd name="T1" fmla="*/ 13 h 29"/>
                  <a:gd name="T2" fmla="*/ 7 w 34"/>
                  <a:gd name="T3" fmla="*/ 29 h 29"/>
                  <a:gd name="T4" fmla="*/ 0 w 34"/>
                  <a:gd name="T5" fmla="*/ 16 h 29"/>
                  <a:gd name="T6" fmla="*/ 26 w 34"/>
                  <a:gd name="T7" fmla="*/ 0 h 29"/>
                  <a:gd name="T8" fmla="*/ 34 w 34"/>
                  <a:gd name="T9" fmla="*/ 13 h 29"/>
                </a:gdLst>
                <a:ahLst/>
                <a:cxnLst>
                  <a:cxn ang="0">
                    <a:pos x="T0" y="T1"/>
                  </a:cxn>
                  <a:cxn ang="0">
                    <a:pos x="T2" y="T3"/>
                  </a:cxn>
                  <a:cxn ang="0">
                    <a:pos x="T4" y="T5"/>
                  </a:cxn>
                  <a:cxn ang="0">
                    <a:pos x="T6" y="T7"/>
                  </a:cxn>
                  <a:cxn ang="0">
                    <a:pos x="T8" y="T9"/>
                  </a:cxn>
                </a:cxnLst>
                <a:rect l="0" t="0" r="r" b="b"/>
                <a:pathLst>
                  <a:path w="34" h="29">
                    <a:moveTo>
                      <a:pt x="34" y="13"/>
                    </a:moveTo>
                    <a:lnTo>
                      <a:pt x="7" y="29"/>
                    </a:lnTo>
                    <a:lnTo>
                      <a:pt x="0" y="16"/>
                    </a:lnTo>
                    <a:lnTo>
                      <a:pt x="26" y="0"/>
                    </a:lnTo>
                    <a:lnTo>
                      <a:pt x="34"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2" name="Freeform 185"/>
              <p:cNvSpPr>
                <a:spLocks/>
              </p:cNvSpPr>
              <p:nvPr userDrawn="1"/>
            </p:nvSpPr>
            <p:spPr bwMode="auto">
              <a:xfrm>
                <a:off x="4654" y="2927"/>
                <a:ext cx="35" cy="31"/>
              </a:xfrm>
              <a:custGeom>
                <a:avLst/>
                <a:gdLst>
                  <a:gd name="T0" fmla="*/ 35 w 35"/>
                  <a:gd name="T1" fmla="*/ 13 h 31"/>
                  <a:gd name="T2" fmla="*/ 9 w 35"/>
                  <a:gd name="T3" fmla="*/ 31 h 31"/>
                  <a:gd name="T4" fmla="*/ 9 w 35"/>
                  <a:gd name="T5" fmla="*/ 31 h 31"/>
                  <a:gd name="T6" fmla="*/ 0 w 35"/>
                  <a:gd name="T7" fmla="*/ 18 h 31"/>
                  <a:gd name="T8" fmla="*/ 0 w 35"/>
                  <a:gd name="T9" fmla="*/ 18 h 31"/>
                  <a:gd name="T10" fmla="*/ 26 w 35"/>
                  <a:gd name="T11" fmla="*/ 0 h 31"/>
                  <a:gd name="T12" fmla="*/ 35 w 35"/>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5" h="31">
                    <a:moveTo>
                      <a:pt x="35" y="13"/>
                    </a:moveTo>
                    <a:lnTo>
                      <a:pt x="9" y="31"/>
                    </a:lnTo>
                    <a:lnTo>
                      <a:pt x="9" y="31"/>
                    </a:lnTo>
                    <a:lnTo>
                      <a:pt x="0" y="18"/>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3" name="Freeform 186"/>
              <p:cNvSpPr>
                <a:spLocks/>
              </p:cNvSpPr>
              <p:nvPr userDrawn="1"/>
            </p:nvSpPr>
            <p:spPr bwMode="auto">
              <a:xfrm>
                <a:off x="4636" y="2899"/>
                <a:ext cx="35" cy="31"/>
              </a:xfrm>
              <a:custGeom>
                <a:avLst/>
                <a:gdLst>
                  <a:gd name="T0" fmla="*/ 35 w 35"/>
                  <a:gd name="T1" fmla="*/ 13 h 31"/>
                  <a:gd name="T2" fmla="*/ 9 w 35"/>
                  <a:gd name="T3" fmla="*/ 31 h 31"/>
                  <a:gd name="T4" fmla="*/ 0 w 35"/>
                  <a:gd name="T5" fmla="*/ 18 h 31"/>
                  <a:gd name="T6" fmla="*/ 27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9" y="31"/>
                    </a:lnTo>
                    <a:lnTo>
                      <a:pt x="0" y="18"/>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4" name="Freeform 187"/>
              <p:cNvSpPr>
                <a:spLocks/>
              </p:cNvSpPr>
              <p:nvPr userDrawn="1"/>
            </p:nvSpPr>
            <p:spPr bwMode="auto">
              <a:xfrm>
                <a:off x="4618" y="2871"/>
                <a:ext cx="35" cy="31"/>
              </a:xfrm>
              <a:custGeom>
                <a:avLst/>
                <a:gdLst>
                  <a:gd name="T0" fmla="*/ 35 w 35"/>
                  <a:gd name="T1" fmla="*/ 14 h 31"/>
                  <a:gd name="T2" fmla="*/ 8 w 35"/>
                  <a:gd name="T3" fmla="*/ 31 h 31"/>
                  <a:gd name="T4" fmla="*/ 0 w 35"/>
                  <a:gd name="T5" fmla="*/ 18 h 31"/>
                  <a:gd name="T6" fmla="*/ 0 w 35"/>
                  <a:gd name="T7" fmla="*/ 18 h 31"/>
                  <a:gd name="T8" fmla="*/ 27 w 35"/>
                  <a:gd name="T9" fmla="*/ 0 h 31"/>
                  <a:gd name="T10" fmla="*/ 35 w 35"/>
                  <a:gd name="T11" fmla="*/ 14 h 31"/>
                </a:gdLst>
                <a:ahLst/>
                <a:cxnLst>
                  <a:cxn ang="0">
                    <a:pos x="T0" y="T1"/>
                  </a:cxn>
                  <a:cxn ang="0">
                    <a:pos x="T2" y="T3"/>
                  </a:cxn>
                  <a:cxn ang="0">
                    <a:pos x="T4" y="T5"/>
                  </a:cxn>
                  <a:cxn ang="0">
                    <a:pos x="T6" y="T7"/>
                  </a:cxn>
                  <a:cxn ang="0">
                    <a:pos x="T8" y="T9"/>
                  </a:cxn>
                  <a:cxn ang="0">
                    <a:pos x="T10" y="T11"/>
                  </a:cxn>
                </a:cxnLst>
                <a:rect l="0" t="0" r="r" b="b"/>
                <a:pathLst>
                  <a:path w="35" h="31">
                    <a:moveTo>
                      <a:pt x="35" y="14"/>
                    </a:moveTo>
                    <a:lnTo>
                      <a:pt x="8" y="31"/>
                    </a:lnTo>
                    <a:lnTo>
                      <a:pt x="0" y="18"/>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5" name="Freeform 188"/>
              <p:cNvSpPr>
                <a:spLocks/>
              </p:cNvSpPr>
              <p:nvPr userDrawn="1"/>
            </p:nvSpPr>
            <p:spPr bwMode="auto">
              <a:xfrm>
                <a:off x="4599" y="2844"/>
                <a:ext cx="36" cy="31"/>
              </a:xfrm>
              <a:custGeom>
                <a:avLst/>
                <a:gdLst>
                  <a:gd name="T0" fmla="*/ 36 w 36"/>
                  <a:gd name="T1" fmla="*/ 13 h 31"/>
                  <a:gd name="T2" fmla="*/ 9 w 36"/>
                  <a:gd name="T3" fmla="*/ 31 h 31"/>
                  <a:gd name="T4" fmla="*/ 9 w 36"/>
                  <a:gd name="T5" fmla="*/ 31 h 31"/>
                  <a:gd name="T6" fmla="*/ 0 w 36"/>
                  <a:gd name="T7" fmla="*/ 17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6" name="Freeform 189"/>
              <p:cNvSpPr>
                <a:spLocks/>
              </p:cNvSpPr>
              <p:nvPr userDrawn="1"/>
            </p:nvSpPr>
            <p:spPr bwMode="auto">
              <a:xfrm>
                <a:off x="4581" y="2817"/>
                <a:ext cx="36" cy="30"/>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7" name="Freeform 190"/>
              <p:cNvSpPr>
                <a:spLocks/>
              </p:cNvSpPr>
              <p:nvPr userDrawn="1"/>
            </p:nvSpPr>
            <p:spPr bwMode="auto">
              <a:xfrm>
                <a:off x="4563" y="2789"/>
                <a:ext cx="35" cy="31"/>
              </a:xfrm>
              <a:custGeom>
                <a:avLst/>
                <a:gdLst>
                  <a:gd name="T0" fmla="*/ 35 w 35"/>
                  <a:gd name="T1" fmla="*/ 14 h 31"/>
                  <a:gd name="T2" fmla="*/ 8 w 35"/>
                  <a:gd name="T3" fmla="*/ 31 h 31"/>
                  <a:gd name="T4" fmla="*/ 0 w 35"/>
                  <a:gd name="T5" fmla="*/ 18 h 31"/>
                  <a:gd name="T6" fmla="*/ 27 w 35"/>
                  <a:gd name="T7" fmla="*/ 0 h 31"/>
                  <a:gd name="T8" fmla="*/ 35 w 35"/>
                  <a:gd name="T9" fmla="*/ 14 h 31"/>
                </a:gdLst>
                <a:ahLst/>
                <a:cxnLst>
                  <a:cxn ang="0">
                    <a:pos x="T0" y="T1"/>
                  </a:cxn>
                  <a:cxn ang="0">
                    <a:pos x="T2" y="T3"/>
                  </a:cxn>
                  <a:cxn ang="0">
                    <a:pos x="T4" y="T5"/>
                  </a:cxn>
                  <a:cxn ang="0">
                    <a:pos x="T6" y="T7"/>
                  </a:cxn>
                  <a:cxn ang="0">
                    <a:pos x="T8" y="T9"/>
                  </a:cxn>
                </a:cxnLst>
                <a:rect l="0" t="0" r="r" b="b"/>
                <a:pathLst>
                  <a:path w="35" h="31">
                    <a:moveTo>
                      <a:pt x="35" y="14"/>
                    </a:moveTo>
                    <a:lnTo>
                      <a:pt x="8" y="31"/>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8" name="Freeform 191"/>
              <p:cNvSpPr>
                <a:spLocks/>
              </p:cNvSpPr>
              <p:nvPr userDrawn="1"/>
            </p:nvSpPr>
            <p:spPr bwMode="auto">
              <a:xfrm>
                <a:off x="4544" y="2762"/>
                <a:ext cx="36" cy="31"/>
              </a:xfrm>
              <a:custGeom>
                <a:avLst/>
                <a:gdLst>
                  <a:gd name="T0" fmla="*/ 36 w 36"/>
                  <a:gd name="T1" fmla="*/ 13 h 31"/>
                  <a:gd name="T2" fmla="*/ 9 w 36"/>
                  <a:gd name="T3" fmla="*/ 31 h 31"/>
                  <a:gd name="T4" fmla="*/ 9 w 36"/>
                  <a:gd name="T5" fmla="*/ 31 h 31"/>
                  <a:gd name="T6" fmla="*/ 0 w 36"/>
                  <a:gd name="T7" fmla="*/ 17 h 31"/>
                  <a:gd name="T8" fmla="*/ 0 w 36"/>
                  <a:gd name="T9" fmla="*/ 17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7"/>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9" name="Freeform 192"/>
              <p:cNvSpPr>
                <a:spLocks/>
              </p:cNvSpPr>
              <p:nvPr userDrawn="1"/>
            </p:nvSpPr>
            <p:spPr bwMode="auto">
              <a:xfrm>
                <a:off x="4526" y="2734"/>
                <a:ext cx="36" cy="31"/>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0" name="Freeform 193"/>
              <p:cNvSpPr>
                <a:spLocks/>
              </p:cNvSpPr>
              <p:nvPr userDrawn="1"/>
            </p:nvSpPr>
            <p:spPr bwMode="auto">
              <a:xfrm>
                <a:off x="4509" y="2707"/>
                <a:ext cx="34" cy="30"/>
              </a:xfrm>
              <a:custGeom>
                <a:avLst/>
                <a:gdLst>
                  <a:gd name="T0" fmla="*/ 34 w 34"/>
                  <a:gd name="T1" fmla="*/ 12 h 30"/>
                  <a:gd name="T2" fmla="*/ 9 w 34"/>
                  <a:gd name="T3" fmla="*/ 30 h 30"/>
                  <a:gd name="T4" fmla="*/ 9 w 34"/>
                  <a:gd name="T5" fmla="*/ 30 h 30"/>
                  <a:gd name="T6" fmla="*/ 0 w 34"/>
                  <a:gd name="T7" fmla="*/ 17 h 30"/>
                  <a:gd name="T8" fmla="*/ 0 w 34"/>
                  <a:gd name="T9" fmla="*/ 17 h 30"/>
                  <a:gd name="T10" fmla="*/ 26 w 34"/>
                  <a:gd name="T11" fmla="*/ 0 h 30"/>
                  <a:gd name="T12" fmla="*/ 34 w 34"/>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4" h="30">
                    <a:moveTo>
                      <a:pt x="34" y="12"/>
                    </a:moveTo>
                    <a:lnTo>
                      <a:pt x="9" y="30"/>
                    </a:lnTo>
                    <a:lnTo>
                      <a:pt x="9" y="30"/>
                    </a:lnTo>
                    <a:lnTo>
                      <a:pt x="0" y="17"/>
                    </a:lnTo>
                    <a:lnTo>
                      <a:pt x="0" y="17"/>
                    </a:lnTo>
                    <a:lnTo>
                      <a:pt x="26" y="0"/>
                    </a:lnTo>
                    <a:lnTo>
                      <a:pt x="34"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1" name="Freeform 194"/>
              <p:cNvSpPr>
                <a:spLocks/>
              </p:cNvSpPr>
              <p:nvPr userDrawn="1"/>
            </p:nvSpPr>
            <p:spPr bwMode="auto">
              <a:xfrm>
                <a:off x="4490" y="2679"/>
                <a:ext cx="35" cy="30"/>
              </a:xfrm>
              <a:custGeom>
                <a:avLst/>
                <a:gdLst>
                  <a:gd name="T0" fmla="*/ 35 w 35"/>
                  <a:gd name="T1" fmla="*/ 14 h 30"/>
                  <a:gd name="T2" fmla="*/ 9 w 35"/>
                  <a:gd name="T3" fmla="*/ 30 h 30"/>
                  <a:gd name="T4" fmla="*/ 0 w 35"/>
                  <a:gd name="T5" fmla="*/ 18 h 30"/>
                  <a:gd name="T6" fmla="*/ 26 w 35"/>
                  <a:gd name="T7" fmla="*/ 0 h 30"/>
                  <a:gd name="T8" fmla="*/ 35 w 35"/>
                  <a:gd name="T9" fmla="*/ 14 h 30"/>
                </a:gdLst>
                <a:ahLst/>
                <a:cxnLst>
                  <a:cxn ang="0">
                    <a:pos x="T0" y="T1"/>
                  </a:cxn>
                  <a:cxn ang="0">
                    <a:pos x="T2" y="T3"/>
                  </a:cxn>
                  <a:cxn ang="0">
                    <a:pos x="T4" y="T5"/>
                  </a:cxn>
                  <a:cxn ang="0">
                    <a:pos x="T6" y="T7"/>
                  </a:cxn>
                  <a:cxn ang="0">
                    <a:pos x="T8" y="T9"/>
                  </a:cxn>
                </a:cxnLst>
                <a:rect l="0" t="0" r="r" b="b"/>
                <a:pathLst>
                  <a:path w="35" h="30">
                    <a:moveTo>
                      <a:pt x="35" y="14"/>
                    </a:moveTo>
                    <a:lnTo>
                      <a:pt x="9" y="30"/>
                    </a:lnTo>
                    <a:lnTo>
                      <a:pt x="0" y="18"/>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2" name="Freeform 195"/>
              <p:cNvSpPr>
                <a:spLocks/>
              </p:cNvSpPr>
              <p:nvPr userDrawn="1"/>
            </p:nvSpPr>
            <p:spPr bwMode="auto">
              <a:xfrm>
                <a:off x="4472" y="2652"/>
                <a:ext cx="36" cy="31"/>
              </a:xfrm>
              <a:custGeom>
                <a:avLst/>
                <a:gdLst>
                  <a:gd name="T0" fmla="*/ 36 w 36"/>
                  <a:gd name="T1" fmla="*/ 13 h 31"/>
                  <a:gd name="T2" fmla="*/ 9 w 36"/>
                  <a:gd name="T3" fmla="*/ 31 h 31"/>
                  <a:gd name="T4" fmla="*/ 0 w 36"/>
                  <a:gd name="T5" fmla="*/ 17 h 31"/>
                  <a:gd name="T6" fmla="*/ 0 w 36"/>
                  <a:gd name="T7" fmla="*/ 17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0" y="17"/>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3" name="Freeform 196"/>
              <p:cNvSpPr>
                <a:spLocks/>
              </p:cNvSpPr>
              <p:nvPr userDrawn="1"/>
            </p:nvSpPr>
            <p:spPr bwMode="auto">
              <a:xfrm>
                <a:off x="4454" y="2624"/>
                <a:ext cx="36" cy="31"/>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4" name="Freeform 197"/>
              <p:cNvSpPr>
                <a:spLocks/>
              </p:cNvSpPr>
              <p:nvPr userDrawn="1"/>
            </p:nvSpPr>
            <p:spPr bwMode="auto">
              <a:xfrm>
                <a:off x="4436" y="2596"/>
                <a:ext cx="35" cy="31"/>
              </a:xfrm>
              <a:custGeom>
                <a:avLst/>
                <a:gdLst>
                  <a:gd name="T0" fmla="*/ 35 w 35"/>
                  <a:gd name="T1" fmla="*/ 14 h 31"/>
                  <a:gd name="T2" fmla="*/ 8 w 35"/>
                  <a:gd name="T3" fmla="*/ 31 h 31"/>
                  <a:gd name="T4" fmla="*/ 0 w 35"/>
                  <a:gd name="T5" fmla="*/ 18 h 31"/>
                  <a:gd name="T6" fmla="*/ 26 w 35"/>
                  <a:gd name="T7" fmla="*/ 0 h 31"/>
                  <a:gd name="T8" fmla="*/ 35 w 35"/>
                  <a:gd name="T9" fmla="*/ 14 h 31"/>
                </a:gdLst>
                <a:ahLst/>
                <a:cxnLst>
                  <a:cxn ang="0">
                    <a:pos x="T0" y="T1"/>
                  </a:cxn>
                  <a:cxn ang="0">
                    <a:pos x="T2" y="T3"/>
                  </a:cxn>
                  <a:cxn ang="0">
                    <a:pos x="T4" y="T5"/>
                  </a:cxn>
                  <a:cxn ang="0">
                    <a:pos x="T6" y="T7"/>
                  </a:cxn>
                  <a:cxn ang="0">
                    <a:pos x="T8" y="T9"/>
                  </a:cxn>
                </a:cxnLst>
                <a:rect l="0" t="0" r="r" b="b"/>
                <a:pathLst>
                  <a:path w="35" h="31">
                    <a:moveTo>
                      <a:pt x="35" y="14"/>
                    </a:moveTo>
                    <a:lnTo>
                      <a:pt x="8" y="31"/>
                    </a:lnTo>
                    <a:lnTo>
                      <a:pt x="0" y="18"/>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5" name="Freeform 198"/>
              <p:cNvSpPr>
                <a:spLocks/>
              </p:cNvSpPr>
              <p:nvPr userDrawn="1"/>
            </p:nvSpPr>
            <p:spPr bwMode="auto">
              <a:xfrm>
                <a:off x="4417" y="2570"/>
                <a:ext cx="36" cy="30"/>
              </a:xfrm>
              <a:custGeom>
                <a:avLst/>
                <a:gdLst>
                  <a:gd name="T0" fmla="*/ 36 w 36"/>
                  <a:gd name="T1" fmla="*/ 12 h 30"/>
                  <a:gd name="T2" fmla="*/ 9 w 36"/>
                  <a:gd name="T3" fmla="*/ 30 h 30"/>
                  <a:gd name="T4" fmla="*/ 0 w 36"/>
                  <a:gd name="T5" fmla="*/ 16 h 30"/>
                  <a:gd name="T6" fmla="*/ 27 w 36"/>
                  <a:gd name="T7" fmla="*/ 0 h 30"/>
                  <a:gd name="T8" fmla="*/ 36 w 36"/>
                  <a:gd name="T9" fmla="*/ 12 h 30"/>
                </a:gdLst>
                <a:ahLst/>
                <a:cxnLst>
                  <a:cxn ang="0">
                    <a:pos x="T0" y="T1"/>
                  </a:cxn>
                  <a:cxn ang="0">
                    <a:pos x="T2" y="T3"/>
                  </a:cxn>
                  <a:cxn ang="0">
                    <a:pos x="T4" y="T5"/>
                  </a:cxn>
                  <a:cxn ang="0">
                    <a:pos x="T6" y="T7"/>
                  </a:cxn>
                  <a:cxn ang="0">
                    <a:pos x="T8" y="T9"/>
                  </a:cxn>
                </a:cxnLst>
                <a:rect l="0" t="0" r="r" b="b"/>
                <a:pathLst>
                  <a:path w="36" h="30">
                    <a:moveTo>
                      <a:pt x="36" y="12"/>
                    </a:moveTo>
                    <a:lnTo>
                      <a:pt x="9" y="30"/>
                    </a:lnTo>
                    <a:lnTo>
                      <a:pt x="0" y="16"/>
                    </a:lnTo>
                    <a:lnTo>
                      <a:pt x="27" y="0"/>
                    </a:lnTo>
                    <a:lnTo>
                      <a:pt x="36"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6" name="Freeform 199"/>
              <p:cNvSpPr>
                <a:spLocks/>
              </p:cNvSpPr>
              <p:nvPr userDrawn="1"/>
            </p:nvSpPr>
            <p:spPr bwMode="auto">
              <a:xfrm>
                <a:off x="4399" y="2542"/>
                <a:ext cx="36" cy="30"/>
              </a:xfrm>
              <a:custGeom>
                <a:avLst/>
                <a:gdLst>
                  <a:gd name="T0" fmla="*/ 36 w 36"/>
                  <a:gd name="T1" fmla="*/ 13 h 30"/>
                  <a:gd name="T2" fmla="*/ 9 w 36"/>
                  <a:gd name="T3" fmla="*/ 30 h 30"/>
                  <a:gd name="T4" fmla="*/ 0 w 36"/>
                  <a:gd name="T5" fmla="*/ 18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7" name="Freeform 200"/>
              <p:cNvSpPr>
                <a:spLocks/>
              </p:cNvSpPr>
              <p:nvPr userDrawn="1"/>
            </p:nvSpPr>
            <p:spPr bwMode="auto">
              <a:xfrm>
                <a:off x="4381" y="2514"/>
                <a:ext cx="35" cy="31"/>
              </a:xfrm>
              <a:custGeom>
                <a:avLst/>
                <a:gdLst>
                  <a:gd name="T0" fmla="*/ 35 w 35"/>
                  <a:gd name="T1" fmla="*/ 13 h 31"/>
                  <a:gd name="T2" fmla="*/ 8 w 35"/>
                  <a:gd name="T3" fmla="*/ 31 h 31"/>
                  <a:gd name="T4" fmla="*/ 0 w 35"/>
                  <a:gd name="T5" fmla="*/ 18 h 31"/>
                  <a:gd name="T6" fmla="*/ 27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8" name="Freeform 201"/>
              <p:cNvSpPr>
                <a:spLocks/>
              </p:cNvSpPr>
              <p:nvPr userDrawn="1"/>
            </p:nvSpPr>
            <p:spPr bwMode="auto">
              <a:xfrm>
                <a:off x="4363" y="2486"/>
                <a:ext cx="35" cy="31"/>
              </a:xfrm>
              <a:custGeom>
                <a:avLst/>
                <a:gdLst>
                  <a:gd name="T0" fmla="*/ 35 w 35"/>
                  <a:gd name="T1" fmla="*/ 14 h 31"/>
                  <a:gd name="T2" fmla="*/ 8 w 35"/>
                  <a:gd name="T3" fmla="*/ 31 h 31"/>
                  <a:gd name="T4" fmla="*/ 8 w 35"/>
                  <a:gd name="T5" fmla="*/ 31 h 31"/>
                  <a:gd name="T6" fmla="*/ 0 w 35"/>
                  <a:gd name="T7" fmla="*/ 18 h 31"/>
                  <a:gd name="T8" fmla="*/ 0 w 35"/>
                  <a:gd name="T9" fmla="*/ 18 h 31"/>
                  <a:gd name="T10" fmla="*/ 26 w 35"/>
                  <a:gd name="T11" fmla="*/ 0 h 31"/>
                  <a:gd name="T12" fmla="*/ 35 w 35"/>
                  <a:gd name="T13" fmla="*/ 14 h 31"/>
                </a:gdLst>
                <a:ahLst/>
                <a:cxnLst>
                  <a:cxn ang="0">
                    <a:pos x="T0" y="T1"/>
                  </a:cxn>
                  <a:cxn ang="0">
                    <a:pos x="T2" y="T3"/>
                  </a:cxn>
                  <a:cxn ang="0">
                    <a:pos x="T4" y="T5"/>
                  </a:cxn>
                  <a:cxn ang="0">
                    <a:pos x="T6" y="T7"/>
                  </a:cxn>
                  <a:cxn ang="0">
                    <a:pos x="T8" y="T9"/>
                  </a:cxn>
                  <a:cxn ang="0">
                    <a:pos x="T10" y="T11"/>
                  </a:cxn>
                  <a:cxn ang="0">
                    <a:pos x="T12" y="T13"/>
                  </a:cxn>
                </a:cxnLst>
                <a:rect l="0" t="0" r="r" b="b"/>
                <a:pathLst>
                  <a:path w="35" h="31">
                    <a:moveTo>
                      <a:pt x="35" y="14"/>
                    </a:moveTo>
                    <a:lnTo>
                      <a:pt x="8" y="31"/>
                    </a:lnTo>
                    <a:lnTo>
                      <a:pt x="8" y="31"/>
                    </a:lnTo>
                    <a:lnTo>
                      <a:pt x="0" y="18"/>
                    </a:lnTo>
                    <a:lnTo>
                      <a:pt x="0" y="18"/>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9" name="Freeform 202"/>
              <p:cNvSpPr>
                <a:spLocks/>
              </p:cNvSpPr>
              <p:nvPr userDrawn="1"/>
            </p:nvSpPr>
            <p:spPr bwMode="auto">
              <a:xfrm>
                <a:off x="4345" y="2459"/>
                <a:ext cx="35" cy="31"/>
              </a:xfrm>
              <a:custGeom>
                <a:avLst/>
                <a:gdLst>
                  <a:gd name="T0" fmla="*/ 35 w 35"/>
                  <a:gd name="T1" fmla="*/ 13 h 31"/>
                  <a:gd name="T2" fmla="*/ 9 w 35"/>
                  <a:gd name="T3" fmla="*/ 31 h 31"/>
                  <a:gd name="T4" fmla="*/ 0 w 35"/>
                  <a:gd name="T5" fmla="*/ 17 h 31"/>
                  <a:gd name="T6" fmla="*/ 26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9" y="31"/>
                    </a:lnTo>
                    <a:lnTo>
                      <a:pt x="0" y="17"/>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0" name="Freeform 203"/>
              <p:cNvSpPr>
                <a:spLocks/>
              </p:cNvSpPr>
              <p:nvPr userDrawn="1"/>
            </p:nvSpPr>
            <p:spPr bwMode="auto">
              <a:xfrm>
                <a:off x="4327" y="2432"/>
                <a:ext cx="34" cy="30"/>
              </a:xfrm>
              <a:custGeom>
                <a:avLst/>
                <a:gdLst>
                  <a:gd name="T0" fmla="*/ 34 w 34"/>
                  <a:gd name="T1" fmla="*/ 13 h 30"/>
                  <a:gd name="T2" fmla="*/ 8 w 34"/>
                  <a:gd name="T3" fmla="*/ 30 h 30"/>
                  <a:gd name="T4" fmla="*/ 0 w 34"/>
                  <a:gd name="T5" fmla="*/ 17 h 30"/>
                  <a:gd name="T6" fmla="*/ 27 w 34"/>
                  <a:gd name="T7" fmla="*/ 0 h 30"/>
                  <a:gd name="T8" fmla="*/ 34 w 34"/>
                  <a:gd name="T9" fmla="*/ 13 h 30"/>
                </a:gdLst>
                <a:ahLst/>
                <a:cxnLst>
                  <a:cxn ang="0">
                    <a:pos x="T0" y="T1"/>
                  </a:cxn>
                  <a:cxn ang="0">
                    <a:pos x="T2" y="T3"/>
                  </a:cxn>
                  <a:cxn ang="0">
                    <a:pos x="T4" y="T5"/>
                  </a:cxn>
                  <a:cxn ang="0">
                    <a:pos x="T6" y="T7"/>
                  </a:cxn>
                  <a:cxn ang="0">
                    <a:pos x="T8" y="T9"/>
                  </a:cxn>
                </a:cxnLst>
                <a:rect l="0" t="0" r="r" b="b"/>
                <a:pathLst>
                  <a:path w="34" h="30">
                    <a:moveTo>
                      <a:pt x="34" y="13"/>
                    </a:moveTo>
                    <a:lnTo>
                      <a:pt x="8" y="30"/>
                    </a:lnTo>
                    <a:lnTo>
                      <a:pt x="0" y="17"/>
                    </a:lnTo>
                    <a:lnTo>
                      <a:pt x="27" y="0"/>
                    </a:lnTo>
                    <a:lnTo>
                      <a:pt x="34"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1" name="Freeform 204"/>
              <p:cNvSpPr>
                <a:spLocks/>
              </p:cNvSpPr>
              <p:nvPr userDrawn="1"/>
            </p:nvSpPr>
            <p:spPr bwMode="auto">
              <a:xfrm>
                <a:off x="4308" y="2404"/>
                <a:ext cx="36" cy="31"/>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8" name="Freeform 206"/>
            <p:cNvSpPr>
              <a:spLocks/>
            </p:cNvSpPr>
            <p:nvPr userDrawn="1"/>
          </p:nvSpPr>
          <p:spPr bwMode="auto">
            <a:xfrm>
              <a:off x="10196511" y="3773488"/>
              <a:ext cx="57150" cy="49213"/>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0" name="Freeform 207"/>
            <p:cNvSpPr>
              <a:spLocks/>
            </p:cNvSpPr>
            <p:nvPr userDrawn="1"/>
          </p:nvSpPr>
          <p:spPr bwMode="auto">
            <a:xfrm>
              <a:off x="10167936" y="3729038"/>
              <a:ext cx="55563" cy="49213"/>
            </a:xfrm>
            <a:custGeom>
              <a:avLst/>
              <a:gdLst>
                <a:gd name="T0" fmla="*/ 35 w 35"/>
                <a:gd name="T1" fmla="*/ 13 h 31"/>
                <a:gd name="T2" fmla="*/ 9 w 35"/>
                <a:gd name="T3" fmla="*/ 31 h 31"/>
                <a:gd name="T4" fmla="*/ 0 w 35"/>
                <a:gd name="T5" fmla="*/ 18 h 31"/>
                <a:gd name="T6" fmla="*/ 27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9" y="31"/>
                  </a:lnTo>
                  <a:lnTo>
                    <a:pt x="0" y="18"/>
                  </a:lnTo>
                  <a:lnTo>
                    <a:pt x="27" y="0"/>
                  </a:lnTo>
                  <a:lnTo>
                    <a:pt x="35" y="13"/>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1" name="Freeform 208"/>
            <p:cNvSpPr>
              <a:spLocks/>
            </p:cNvSpPr>
            <p:nvPr userDrawn="1"/>
          </p:nvSpPr>
          <p:spPr bwMode="auto">
            <a:xfrm>
              <a:off x="10137774" y="3686175"/>
              <a:ext cx="57150" cy="47625"/>
            </a:xfrm>
            <a:custGeom>
              <a:avLst/>
              <a:gdLst>
                <a:gd name="T0" fmla="*/ 36 w 36"/>
                <a:gd name="T1" fmla="*/ 12 h 30"/>
                <a:gd name="T2" fmla="*/ 9 w 36"/>
                <a:gd name="T3" fmla="*/ 30 h 30"/>
                <a:gd name="T4" fmla="*/ 0 w 36"/>
                <a:gd name="T5" fmla="*/ 17 h 30"/>
                <a:gd name="T6" fmla="*/ 27 w 36"/>
                <a:gd name="T7" fmla="*/ 0 h 30"/>
                <a:gd name="T8" fmla="*/ 36 w 36"/>
                <a:gd name="T9" fmla="*/ 12 h 30"/>
              </a:gdLst>
              <a:ahLst/>
              <a:cxnLst>
                <a:cxn ang="0">
                  <a:pos x="T0" y="T1"/>
                </a:cxn>
                <a:cxn ang="0">
                  <a:pos x="T2" y="T3"/>
                </a:cxn>
                <a:cxn ang="0">
                  <a:pos x="T4" y="T5"/>
                </a:cxn>
                <a:cxn ang="0">
                  <a:pos x="T6" y="T7"/>
                </a:cxn>
                <a:cxn ang="0">
                  <a:pos x="T8" y="T9"/>
                </a:cxn>
              </a:cxnLst>
              <a:rect l="0" t="0" r="r" b="b"/>
              <a:pathLst>
                <a:path w="36" h="30">
                  <a:moveTo>
                    <a:pt x="36" y="12"/>
                  </a:moveTo>
                  <a:lnTo>
                    <a:pt x="9" y="30"/>
                  </a:lnTo>
                  <a:lnTo>
                    <a:pt x="0" y="17"/>
                  </a:lnTo>
                  <a:lnTo>
                    <a:pt x="27" y="0"/>
                  </a:lnTo>
                  <a:lnTo>
                    <a:pt x="36" y="12"/>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2" name="Freeform 209"/>
            <p:cNvSpPr>
              <a:spLocks/>
            </p:cNvSpPr>
            <p:nvPr userDrawn="1"/>
          </p:nvSpPr>
          <p:spPr bwMode="auto">
            <a:xfrm>
              <a:off x="10109199" y="3643313"/>
              <a:ext cx="57150" cy="46038"/>
            </a:xfrm>
            <a:custGeom>
              <a:avLst/>
              <a:gdLst>
                <a:gd name="T0" fmla="*/ 36 w 36"/>
                <a:gd name="T1" fmla="*/ 13 h 29"/>
                <a:gd name="T2" fmla="*/ 9 w 36"/>
                <a:gd name="T3" fmla="*/ 29 h 29"/>
                <a:gd name="T4" fmla="*/ 0 w 36"/>
                <a:gd name="T5" fmla="*/ 17 h 29"/>
                <a:gd name="T6" fmla="*/ 27 w 36"/>
                <a:gd name="T7" fmla="*/ 0 h 29"/>
                <a:gd name="T8" fmla="*/ 36 w 36"/>
                <a:gd name="T9" fmla="*/ 13 h 29"/>
              </a:gdLst>
              <a:ahLst/>
              <a:cxnLst>
                <a:cxn ang="0">
                  <a:pos x="T0" y="T1"/>
                </a:cxn>
                <a:cxn ang="0">
                  <a:pos x="T2" y="T3"/>
                </a:cxn>
                <a:cxn ang="0">
                  <a:pos x="T4" y="T5"/>
                </a:cxn>
                <a:cxn ang="0">
                  <a:pos x="T6" y="T7"/>
                </a:cxn>
                <a:cxn ang="0">
                  <a:pos x="T8" y="T9"/>
                </a:cxn>
              </a:cxnLst>
              <a:rect l="0" t="0" r="r" b="b"/>
              <a:pathLst>
                <a:path w="36" h="29">
                  <a:moveTo>
                    <a:pt x="36" y="13"/>
                  </a:moveTo>
                  <a:lnTo>
                    <a:pt x="9" y="29"/>
                  </a:lnTo>
                  <a:lnTo>
                    <a:pt x="0" y="17"/>
                  </a:lnTo>
                  <a:lnTo>
                    <a:pt x="27" y="0"/>
                  </a:lnTo>
                  <a:lnTo>
                    <a:pt x="36" y="13"/>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3" name="Freeform 210"/>
            <p:cNvSpPr>
              <a:spLocks/>
            </p:cNvSpPr>
            <p:nvPr userDrawn="1"/>
          </p:nvSpPr>
          <p:spPr bwMode="auto">
            <a:xfrm>
              <a:off x="10961686" y="4840288"/>
              <a:ext cx="49213" cy="46038"/>
            </a:xfrm>
            <a:custGeom>
              <a:avLst/>
              <a:gdLst>
                <a:gd name="T0" fmla="*/ 31 w 31"/>
                <a:gd name="T1" fmla="*/ 13 h 29"/>
                <a:gd name="T2" fmla="*/ 9 w 31"/>
                <a:gd name="T3" fmla="*/ 29 h 29"/>
                <a:gd name="T4" fmla="*/ 0 w 31"/>
                <a:gd name="T5" fmla="*/ 15 h 29"/>
                <a:gd name="T6" fmla="*/ 23 w 31"/>
                <a:gd name="T7" fmla="*/ 0 h 29"/>
                <a:gd name="T8" fmla="*/ 31 w 31"/>
                <a:gd name="T9" fmla="*/ 13 h 29"/>
              </a:gdLst>
              <a:ahLst/>
              <a:cxnLst>
                <a:cxn ang="0">
                  <a:pos x="T0" y="T1"/>
                </a:cxn>
                <a:cxn ang="0">
                  <a:pos x="T2" y="T3"/>
                </a:cxn>
                <a:cxn ang="0">
                  <a:pos x="T4" y="T5"/>
                </a:cxn>
                <a:cxn ang="0">
                  <a:pos x="T6" y="T7"/>
                </a:cxn>
                <a:cxn ang="0">
                  <a:pos x="T8" y="T9"/>
                </a:cxn>
              </a:cxnLst>
              <a:rect l="0" t="0" r="r" b="b"/>
              <a:pathLst>
                <a:path w="31" h="29">
                  <a:moveTo>
                    <a:pt x="31" y="13"/>
                  </a:moveTo>
                  <a:lnTo>
                    <a:pt x="9" y="29"/>
                  </a:lnTo>
                  <a:lnTo>
                    <a:pt x="0" y="15"/>
                  </a:lnTo>
                  <a:lnTo>
                    <a:pt x="23" y="0"/>
                  </a:lnTo>
                  <a:lnTo>
                    <a:pt x="31" y="13"/>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4" name="Freeform 211"/>
            <p:cNvSpPr>
              <a:spLocks/>
            </p:cNvSpPr>
            <p:nvPr userDrawn="1"/>
          </p:nvSpPr>
          <p:spPr bwMode="auto">
            <a:xfrm>
              <a:off x="10931524" y="4795838"/>
              <a:ext cx="50800" cy="46038"/>
            </a:xfrm>
            <a:custGeom>
              <a:avLst/>
              <a:gdLst>
                <a:gd name="T0" fmla="*/ 32 w 32"/>
                <a:gd name="T1" fmla="*/ 13 h 29"/>
                <a:gd name="T2" fmla="*/ 9 w 32"/>
                <a:gd name="T3" fmla="*/ 29 h 29"/>
                <a:gd name="T4" fmla="*/ 0 w 32"/>
                <a:gd name="T5" fmla="*/ 16 h 29"/>
                <a:gd name="T6" fmla="*/ 23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9" y="29"/>
                  </a:lnTo>
                  <a:lnTo>
                    <a:pt x="0" y="16"/>
                  </a:lnTo>
                  <a:lnTo>
                    <a:pt x="23" y="0"/>
                  </a:lnTo>
                  <a:lnTo>
                    <a:pt x="32" y="13"/>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5" name="Freeform 212"/>
            <p:cNvSpPr>
              <a:spLocks/>
            </p:cNvSpPr>
            <p:nvPr userDrawn="1"/>
          </p:nvSpPr>
          <p:spPr bwMode="auto">
            <a:xfrm>
              <a:off x="10902949" y="4751388"/>
              <a:ext cx="50800" cy="46038"/>
            </a:xfrm>
            <a:custGeom>
              <a:avLst/>
              <a:gdLst>
                <a:gd name="T0" fmla="*/ 32 w 32"/>
                <a:gd name="T1" fmla="*/ 14 h 29"/>
                <a:gd name="T2" fmla="*/ 9 w 32"/>
                <a:gd name="T3" fmla="*/ 29 h 29"/>
                <a:gd name="T4" fmla="*/ 0 w 32"/>
                <a:gd name="T5" fmla="*/ 16 h 29"/>
                <a:gd name="T6" fmla="*/ 23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3" y="0"/>
                  </a:lnTo>
                  <a:lnTo>
                    <a:pt x="32" y="14"/>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6" name="Freeform 213"/>
            <p:cNvSpPr>
              <a:spLocks/>
            </p:cNvSpPr>
            <p:nvPr userDrawn="1"/>
          </p:nvSpPr>
          <p:spPr bwMode="auto">
            <a:xfrm>
              <a:off x="10874374" y="4710113"/>
              <a:ext cx="52388" cy="42863"/>
            </a:xfrm>
            <a:custGeom>
              <a:avLst/>
              <a:gdLst>
                <a:gd name="T0" fmla="*/ 33 w 33"/>
                <a:gd name="T1" fmla="*/ 13 h 27"/>
                <a:gd name="T2" fmla="*/ 9 w 33"/>
                <a:gd name="T3" fmla="*/ 27 h 27"/>
                <a:gd name="T4" fmla="*/ 0 w 33"/>
                <a:gd name="T5" fmla="*/ 14 h 27"/>
                <a:gd name="T6" fmla="*/ 24 w 33"/>
                <a:gd name="T7" fmla="*/ 0 h 27"/>
                <a:gd name="T8" fmla="*/ 33 w 33"/>
                <a:gd name="T9" fmla="*/ 13 h 27"/>
              </a:gdLst>
              <a:ahLst/>
              <a:cxnLst>
                <a:cxn ang="0">
                  <a:pos x="T0" y="T1"/>
                </a:cxn>
                <a:cxn ang="0">
                  <a:pos x="T2" y="T3"/>
                </a:cxn>
                <a:cxn ang="0">
                  <a:pos x="T4" y="T5"/>
                </a:cxn>
                <a:cxn ang="0">
                  <a:pos x="T6" y="T7"/>
                </a:cxn>
                <a:cxn ang="0">
                  <a:pos x="T8" y="T9"/>
                </a:cxn>
              </a:cxnLst>
              <a:rect l="0" t="0" r="r" b="b"/>
              <a:pathLst>
                <a:path w="33" h="27">
                  <a:moveTo>
                    <a:pt x="33" y="13"/>
                  </a:moveTo>
                  <a:lnTo>
                    <a:pt x="9" y="27"/>
                  </a:lnTo>
                  <a:lnTo>
                    <a:pt x="0" y="14"/>
                  </a:lnTo>
                  <a:lnTo>
                    <a:pt x="24" y="0"/>
                  </a:lnTo>
                  <a:lnTo>
                    <a:pt x="33" y="13"/>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7" name="Freeform 214"/>
            <p:cNvSpPr>
              <a:spLocks/>
            </p:cNvSpPr>
            <p:nvPr userDrawn="1"/>
          </p:nvSpPr>
          <p:spPr bwMode="auto">
            <a:xfrm>
              <a:off x="10845799" y="4645025"/>
              <a:ext cx="82550" cy="66675"/>
            </a:xfrm>
            <a:custGeom>
              <a:avLst/>
              <a:gdLst>
                <a:gd name="T0" fmla="*/ 52 w 52"/>
                <a:gd name="T1" fmla="*/ 13 h 42"/>
                <a:gd name="T2" fmla="*/ 8 w 52"/>
                <a:gd name="T3" fmla="*/ 42 h 42"/>
                <a:gd name="T4" fmla="*/ 0 w 52"/>
                <a:gd name="T5" fmla="*/ 29 h 42"/>
                <a:gd name="T6" fmla="*/ 44 w 52"/>
                <a:gd name="T7" fmla="*/ 0 h 42"/>
                <a:gd name="T8" fmla="*/ 52 w 52"/>
                <a:gd name="T9" fmla="*/ 13 h 42"/>
              </a:gdLst>
              <a:ahLst/>
              <a:cxnLst>
                <a:cxn ang="0">
                  <a:pos x="T0" y="T1"/>
                </a:cxn>
                <a:cxn ang="0">
                  <a:pos x="T2" y="T3"/>
                </a:cxn>
                <a:cxn ang="0">
                  <a:pos x="T4" y="T5"/>
                </a:cxn>
                <a:cxn ang="0">
                  <a:pos x="T6" y="T7"/>
                </a:cxn>
                <a:cxn ang="0">
                  <a:pos x="T8" y="T9"/>
                </a:cxn>
              </a:cxnLst>
              <a:rect l="0" t="0" r="r" b="b"/>
              <a:pathLst>
                <a:path w="52" h="42">
                  <a:moveTo>
                    <a:pt x="52" y="13"/>
                  </a:moveTo>
                  <a:lnTo>
                    <a:pt x="8" y="42"/>
                  </a:lnTo>
                  <a:lnTo>
                    <a:pt x="0" y="29"/>
                  </a:lnTo>
                  <a:lnTo>
                    <a:pt x="44" y="0"/>
                  </a:lnTo>
                  <a:lnTo>
                    <a:pt x="52" y="13"/>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8" name="Freeform 215"/>
            <p:cNvSpPr>
              <a:spLocks/>
            </p:cNvSpPr>
            <p:nvPr userDrawn="1"/>
          </p:nvSpPr>
          <p:spPr bwMode="auto">
            <a:xfrm>
              <a:off x="10815636" y="4621213"/>
              <a:ext cx="52388" cy="46038"/>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19" name="Freeform 216"/>
            <p:cNvSpPr>
              <a:spLocks/>
            </p:cNvSpPr>
            <p:nvPr userDrawn="1"/>
          </p:nvSpPr>
          <p:spPr bwMode="auto">
            <a:xfrm>
              <a:off x="10788649" y="4578350"/>
              <a:ext cx="50800" cy="44450"/>
            </a:xfrm>
            <a:custGeom>
              <a:avLst/>
              <a:gdLst>
                <a:gd name="T0" fmla="*/ 32 w 32"/>
                <a:gd name="T1" fmla="*/ 13 h 28"/>
                <a:gd name="T2" fmla="*/ 8 w 32"/>
                <a:gd name="T3" fmla="*/ 28 h 28"/>
                <a:gd name="T4" fmla="*/ 0 w 32"/>
                <a:gd name="T5" fmla="*/ 15 h 28"/>
                <a:gd name="T6" fmla="*/ 23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5"/>
                  </a:lnTo>
                  <a:lnTo>
                    <a:pt x="23" y="0"/>
                  </a:lnTo>
                  <a:lnTo>
                    <a:pt x="32" y="13"/>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0" name="Freeform 217"/>
            <p:cNvSpPr>
              <a:spLocks/>
            </p:cNvSpPr>
            <p:nvPr userDrawn="1"/>
          </p:nvSpPr>
          <p:spPr bwMode="auto">
            <a:xfrm>
              <a:off x="10760074" y="4535488"/>
              <a:ext cx="49213" cy="44450"/>
            </a:xfrm>
            <a:custGeom>
              <a:avLst/>
              <a:gdLst>
                <a:gd name="T0" fmla="*/ 31 w 31"/>
                <a:gd name="T1" fmla="*/ 12 h 28"/>
                <a:gd name="T2" fmla="*/ 8 w 31"/>
                <a:gd name="T3" fmla="*/ 28 h 28"/>
                <a:gd name="T4" fmla="*/ 0 w 31"/>
                <a:gd name="T5" fmla="*/ 14 h 28"/>
                <a:gd name="T6" fmla="*/ 23 w 31"/>
                <a:gd name="T7" fmla="*/ 0 h 28"/>
                <a:gd name="T8" fmla="*/ 31 w 31"/>
                <a:gd name="T9" fmla="*/ 12 h 28"/>
              </a:gdLst>
              <a:ahLst/>
              <a:cxnLst>
                <a:cxn ang="0">
                  <a:pos x="T0" y="T1"/>
                </a:cxn>
                <a:cxn ang="0">
                  <a:pos x="T2" y="T3"/>
                </a:cxn>
                <a:cxn ang="0">
                  <a:pos x="T4" y="T5"/>
                </a:cxn>
                <a:cxn ang="0">
                  <a:pos x="T6" y="T7"/>
                </a:cxn>
                <a:cxn ang="0">
                  <a:pos x="T8" y="T9"/>
                </a:cxn>
              </a:cxnLst>
              <a:rect l="0" t="0" r="r" b="b"/>
              <a:pathLst>
                <a:path w="31" h="28">
                  <a:moveTo>
                    <a:pt x="31" y="12"/>
                  </a:moveTo>
                  <a:lnTo>
                    <a:pt x="8" y="28"/>
                  </a:lnTo>
                  <a:lnTo>
                    <a:pt x="0" y="14"/>
                  </a:lnTo>
                  <a:lnTo>
                    <a:pt x="23" y="0"/>
                  </a:lnTo>
                  <a:lnTo>
                    <a:pt x="31" y="12"/>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1" name="Freeform 218"/>
            <p:cNvSpPr>
              <a:spLocks/>
            </p:cNvSpPr>
            <p:nvPr userDrawn="1"/>
          </p:nvSpPr>
          <p:spPr bwMode="auto">
            <a:xfrm>
              <a:off x="10729911" y="4491038"/>
              <a:ext cx="50800" cy="44450"/>
            </a:xfrm>
            <a:custGeom>
              <a:avLst/>
              <a:gdLst>
                <a:gd name="T0" fmla="*/ 32 w 32"/>
                <a:gd name="T1" fmla="*/ 14 h 28"/>
                <a:gd name="T2" fmla="*/ 9 w 32"/>
                <a:gd name="T3" fmla="*/ 28 h 28"/>
                <a:gd name="T4" fmla="*/ 0 w 32"/>
                <a:gd name="T5" fmla="*/ 15 h 28"/>
                <a:gd name="T6" fmla="*/ 23 w 32"/>
                <a:gd name="T7" fmla="*/ 0 h 28"/>
                <a:gd name="T8" fmla="*/ 32 w 32"/>
                <a:gd name="T9" fmla="*/ 14 h 28"/>
              </a:gdLst>
              <a:ahLst/>
              <a:cxnLst>
                <a:cxn ang="0">
                  <a:pos x="T0" y="T1"/>
                </a:cxn>
                <a:cxn ang="0">
                  <a:pos x="T2" y="T3"/>
                </a:cxn>
                <a:cxn ang="0">
                  <a:pos x="T4" y="T5"/>
                </a:cxn>
                <a:cxn ang="0">
                  <a:pos x="T6" y="T7"/>
                </a:cxn>
                <a:cxn ang="0">
                  <a:pos x="T8" y="T9"/>
                </a:cxn>
              </a:cxnLst>
              <a:rect l="0" t="0" r="r" b="b"/>
              <a:pathLst>
                <a:path w="32" h="28">
                  <a:moveTo>
                    <a:pt x="32" y="14"/>
                  </a:moveTo>
                  <a:lnTo>
                    <a:pt x="9" y="28"/>
                  </a:lnTo>
                  <a:lnTo>
                    <a:pt x="0" y="15"/>
                  </a:lnTo>
                  <a:lnTo>
                    <a:pt x="23" y="0"/>
                  </a:lnTo>
                  <a:lnTo>
                    <a:pt x="32" y="14"/>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2" name="Freeform 219"/>
            <p:cNvSpPr>
              <a:spLocks/>
            </p:cNvSpPr>
            <p:nvPr userDrawn="1"/>
          </p:nvSpPr>
          <p:spPr bwMode="auto">
            <a:xfrm>
              <a:off x="10701336" y="4425950"/>
              <a:ext cx="82550" cy="66675"/>
            </a:xfrm>
            <a:custGeom>
              <a:avLst/>
              <a:gdLst>
                <a:gd name="T0" fmla="*/ 52 w 52"/>
                <a:gd name="T1" fmla="*/ 13 h 42"/>
                <a:gd name="T2" fmla="*/ 9 w 52"/>
                <a:gd name="T3" fmla="*/ 42 h 42"/>
                <a:gd name="T4" fmla="*/ 0 w 52"/>
                <a:gd name="T5" fmla="*/ 29 h 42"/>
                <a:gd name="T6" fmla="*/ 43 w 52"/>
                <a:gd name="T7" fmla="*/ 0 h 42"/>
                <a:gd name="T8" fmla="*/ 52 w 52"/>
                <a:gd name="T9" fmla="*/ 13 h 42"/>
              </a:gdLst>
              <a:ahLst/>
              <a:cxnLst>
                <a:cxn ang="0">
                  <a:pos x="T0" y="T1"/>
                </a:cxn>
                <a:cxn ang="0">
                  <a:pos x="T2" y="T3"/>
                </a:cxn>
                <a:cxn ang="0">
                  <a:pos x="T4" y="T5"/>
                </a:cxn>
                <a:cxn ang="0">
                  <a:pos x="T6" y="T7"/>
                </a:cxn>
                <a:cxn ang="0">
                  <a:pos x="T8" y="T9"/>
                </a:cxn>
              </a:cxnLst>
              <a:rect l="0" t="0" r="r" b="b"/>
              <a:pathLst>
                <a:path w="52" h="42">
                  <a:moveTo>
                    <a:pt x="52" y="13"/>
                  </a:moveTo>
                  <a:lnTo>
                    <a:pt x="9" y="42"/>
                  </a:lnTo>
                  <a:lnTo>
                    <a:pt x="0" y="29"/>
                  </a:lnTo>
                  <a:lnTo>
                    <a:pt x="43" y="0"/>
                  </a:lnTo>
                  <a:lnTo>
                    <a:pt x="52" y="13"/>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3" name="Freeform 220"/>
            <p:cNvSpPr>
              <a:spLocks/>
            </p:cNvSpPr>
            <p:nvPr userDrawn="1"/>
          </p:nvSpPr>
          <p:spPr bwMode="auto">
            <a:xfrm>
              <a:off x="10672761" y="4403725"/>
              <a:ext cx="49213" cy="46038"/>
            </a:xfrm>
            <a:custGeom>
              <a:avLst/>
              <a:gdLst>
                <a:gd name="T0" fmla="*/ 31 w 31"/>
                <a:gd name="T1" fmla="*/ 13 h 29"/>
                <a:gd name="T2" fmla="*/ 8 w 31"/>
                <a:gd name="T3" fmla="*/ 29 h 29"/>
                <a:gd name="T4" fmla="*/ 0 w 31"/>
                <a:gd name="T5" fmla="*/ 15 h 29"/>
                <a:gd name="T6" fmla="*/ 23 w 31"/>
                <a:gd name="T7" fmla="*/ 0 h 29"/>
                <a:gd name="T8" fmla="*/ 31 w 31"/>
                <a:gd name="T9" fmla="*/ 13 h 29"/>
              </a:gdLst>
              <a:ahLst/>
              <a:cxnLst>
                <a:cxn ang="0">
                  <a:pos x="T0" y="T1"/>
                </a:cxn>
                <a:cxn ang="0">
                  <a:pos x="T2" y="T3"/>
                </a:cxn>
                <a:cxn ang="0">
                  <a:pos x="T4" y="T5"/>
                </a:cxn>
                <a:cxn ang="0">
                  <a:pos x="T6" y="T7"/>
                </a:cxn>
                <a:cxn ang="0">
                  <a:pos x="T8" y="T9"/>
                </a:cxn>
              </a:cxnLst>
              <a:rect l="0" t="0" r="r" b="b"/>
              <a:pathLst>
                <a:path w="31" h="29">
                  <a:moveTo>
                    <a:pt x="31" y="13"/>
                  </a:moveTo>
                  <a:lnTo>
                    <a:pt x="8" y="29"/>
                  </a:lnTo>
                  <a:lnTo>
                    <a:pt x="0" y="15"/>
                  </a:lnTo>
                  <a:lnTo>
                    <a:pt x="23" y="0"/>
                  </a:lnTo>
                  <a:lnTo>
                    <a:pt x="31" y="13"/>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4" name="Freeform 221"/>
            <p:cNvSpPr>
              <a:spLocks/>
            </p:cNvSpPr>
            <p:nvPr userDrawn="1"/>
          </p:nvSpPr>
          <p:spPr bwMode="auto">
            <a:xfrm>
              <a:off x="10642599" y="4359275"/>
              <a:ext cx="50800" cy="46038"/>
            </a:xfrm>
            <a:custGeom>
              <a:avLst/>
              <a:gdLst>
                <a:gd name="T0" fmla="*/ 32 w 32"/>
                <a:gd name="T1" fmla="*/ 13 h 29"/>
                <a:gd name="T2" fmla="*/ 9 w 32"/>
                <a:gd name="T3" fmla="*/ 29 h 29"/>
                <a:gd name="T4" fmla="*/ 0 w 32"/>
                <a:gd name="T5" fmla="*/ 16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9" y="29"/>
                  </a:lnTo>
                  <a:lnTo>
                    <a:pt x="0" y="16"/>
                  </a:lnTo>
                  <a:lnTo>
                    <a:pt x="24" y="0"/>
                  </a:lnTo>
                  <a:lnTo>
                    <a:pt x="32" y="13"/>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5" name="Freeform 222"/>
            <p:cNvSpPr>
              <a:spLocks/>
            </p:cNvSpPr>
            <p:nvPr userDrawn="1"/>
          </p:nvSpPr>
          <p:spPr bwMode="auto">
            <a:xfrm>
              <a:off x="10614024" y="4316413"/>
              <a:ext cx="52388" cy="44450"/>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6" name="Freeform 223"/>
            <p:cNvSpPr>
              <a:spLocks/>
            </p:cNvSpPr>
            <p:nvPr userDrawn="1"/>
          </p:nvSpPr>
          <p:spPr bwMode="auto">
            <a:xfrm>
              <a:off x="10585449" y="4273550"/>
              <a:ext cx="50800" cy="42863"/>
            </a:xfrm>
            <a:custGeom>
              <a:avLst/>
              <a:gdLst>
                <a:gd name="T0" fmla="*/ 32 w 32"/>
                <a:gd name="T1" fmla="*/ 13 h 27"/>
                <a:gd name="T2" fmla="*/ 8 w 32"/>
                <a:gd name="T3" fmla="*/ 27 h 27"/>
                <a:gd name="T4" fmla="*/ 0 w 32"/>
                <a:gd name="T5" fmla="*/ 15 h 27"/>
                <a:gd name="T6" fmla="*/ 24 w 32"/>
                <a:gd name="T7" fmla="*/ 0 h 27"/>
                <a:gd name="T8" fmla="*/ 32 w 32"/>
                <a:gd name="T9" fmla="*/ 13 h 27"/>
              </a:gdLst>
              <a:ahLst/>
              <a:cxnLst>
                <a:cxn ang="0">
                  <a:pos x="T0" y="T1"/>
                </a:cxn>
                <a:cxn ang="0">
                  <a:pos x="T2" y="T3"/>
                </a:cxn>
                <a:cxn ang="0">
                  <a:pos x="T4" y="T5"/>
                </a:cxn>
                <a:cxn ang="0">
                  <a:pos x="T6" y="T7"/>
                </a:cxn>
                <a:cxn ang="0">
                  <a:pos x="T8" y="T9"/>
                </a:cxn>
              </a:cxnLst>
              <a:rect l="0" t="0" r="r" b="b"/>
              <a:pathLst>
                <a:path w="32" h="27">
                  <a:moveTo>
                    <a:pt x="32" y="13"/>
                  </a:moveTo>
                  <a:lnTo>
                    <a:pt x="8" y="27"/>
                  </a:lnTo>
                  <a:lnTo>
                    <a:pt x="0" y="15"/>
                  </a:lnTo>
                  <a:lnTo>
                    <a:pt x="24" y="0"/>
                  </a:lnTo>
                  <a:lnTo>
                    <a:pt x="32" y="13"/>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7" name="Freeform 224"/>
            <p:cNvSpPr>
              <a:spLocks/>
            </p:cNvSpPr>
            <p:nvPr userDrawn="1"/>
          </p:nvSpPr>
          <p:spPr bwMode="auto">
            <a:xfrm>
              <a:off x="10555286" y="4208463"/>
              <a:ext cx="84138" cy="66675"/>
            </a:xfrm>
            <a:custGeom>
              <a:avLst/>
              <a:gdLst>
                <a:gd name="T0" fmla="*/ 53 w 53"/>
                <a:gd name="T1" fmla="*/ 13 h 42"/>
                <a:gd name="T2" fmla="*/ 9 w 53"/>
                <a:gd name="T3" fmla="*/ 42 h 42"/>
                <a:gd name="T4" fmla="*/ 0 w 53"/>
                <a:gd name="T5" fmla="*/ 28 h 42"/>
                <a:gd name="T6" fmla="*/ 44 w 53"/>
                <a:gd name="T7" fmla="*/ 0 h 42"/>
                <a:gd name="T8" fmla="*/ 53 w 53"/>
                <a:gd name="T9" fmla="*/ 13 h 42"/>
              </a:gdLst>
              <a:ahLst/>
              <a:cxnLst>
                <a:cxn ang="0">
                  <a:pos x="T0" y="T1"/>
                </a:cxn>
                <a:cxn ang="0">
                  <a:pos x="T2" y="T3"/>
                </a:cxn>
                <a:cxn ang="0">
                  <a:pos x="T4" y="T5"/>
                </a:cxn>
                <a:cxn ang="0">
                  <a:pos x="T6" y="T7"/>
                </a:cxn>
                <a:cxn ang="0">
                  <a:pos x="T8" y="T9"/>
                </a:cxn>
              </a:cxnLst>
              <a:rect l="0" t="0" r="r" b="b"/>
              <a:pathLst>
                <a:path w="53" h="42">
                  <a:moveTo>
                    <a:pt x="53" y="13"/>
                  </a:moveTo>
                  <a:lnTo>
                    <a:pt x="9" y="42"/>
                  </a:lnTo>
                  <a:lnTo>
                    <a:pt x="0" y="28"/>
                  </a:lnTo>
                  <a:lnTo>
                    <a:pt x="44" y="0"/>
                  </a:lnTo>
                  <a:lnTo>
                    <a:pt x="53" y="13"/>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8" name="Freeform 225"/>
            <p:cNvSpPr>
              <a:spLocks/>
            </p:cNvSpPr>
            <p:nvPr userDrawn="1"/>
          </p:nvSpPr>
          <p:spPr bwMode="auto">
            <a:xfrm>
              <a:off x="10528299" y="4184650"/>
              <a:ext cx="50800" cy="46038"/>
            </a:xfrm>
            <a:custGeom>
              <a:avLst/>
              <a:gdLst>
                <a:gd name="T0" fmla="*/ 32 w 32"/>
                <a:gd name="T1" fmla="*/ 13 h 29"/>
                <a:gd name="T2" fmla="*/ 9 w 32"/>
                <a:gd name="T3" fmla="*/ 29 h 29"/>
                <a:gd name="T4" fmla="*/ 0 w 32"/>
                <a:gd name="T5" fmla="*/ 16 h 29"/>
                <a:gd name="T6" fmla="*/ 23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9" y="29"/>
                  </a:lnTo>
                  <a:lnTo>
                    <a:pt x="0" y="16"/>
                  </a:lnTo>
                  <a:lnTo>
                    <a:pt x="23" y="0"/>
                  </a:lnTo>
                  <a:lnTo>
                    <a:pt x="32" y="13"/>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29" name="Freeform 226"/>
            <p:cNvSpPr>
              <a:spLocks/>
            </p:cNvSpPr>
            <p:nvPr userDrawn="1"/>
          </p:nvSpPr>
          <p:spPr bwMode="auto">
            <a:xfrm>
              <a:off x="10499724" y="4140200"/>
              <a:ext cx="50800" cy="46038"/>
            </a:xfrm>
            <a:custGeom>
              <a:avLst/>
              <a:gdLst>
                <a:gd name="T0" fmla="*/ 32 w 32"/>
                <a:gd name="T1" fmla="*/ 14 h 29"/>
                <a:gd name="T2" fmla="*/ 9 w 32"/>
                <a:gd name="T3" fmla="*/ 29 h 29"/>
                <a:gd name="T4" fmla="*/ 0 w 32"/>
                <a:gd name="T5" fmla="*/ 16 h 29"/>
                <a:gd name="T6" fmla="*/ 23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3" y="0"/>
                  </a:lnTo>
                  <a:lnTo>
                    <a:pt x="32" y="14"/>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30" name="Freeform 227"/>
            <p:cNvSpPr>
              <a:spLocks/>
            </p:cNvSpPr>
            <p:nvPr userDrawn="1"/>
          </p:nvSpPr>
          <p:spPr bwMode="auto">
            <a:xfrm>
              <a:off x="10469561" y="4098925"/>
              <a:ext cx="50800" cy="44450"/>
            </a:xfrm>
            <a:custGeom>
              <a:avLst/>
              <a:gdLst>
                <a:gd name="T0" fmla="*/ 32 w 32"/>
                <a:gd name="T1" fmla="*/ 13 h 28"/>
                <a:gd name="T2" fmla="*/ 9 w 32"/>
                <a:gd name="T3" fmla="*/ 28 h 28"/>
                <a:gd name="T4" fmla="*/ 0 w 32"/>
                <a:gd name="T5" fmla="*/ 14 h 28"/>
                <a:gd name="T6" fmla="*/ 23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9" y="28"/>
                  </a:lnTo>
                  <a:lnTo>
                    <a:pt x="0" y="14"/>
                  </a:lnTo>
                  <a:lnTo>
                    <a:pt x="23" y="0"/>
                  </a:lnTo>
                  <a:lnTo>
                    <a:pt x="32" y="13"/>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31" name="Freeform 228"/>
            <p:cNvSpPr>
              <a:spLocks/>
            </p:cNvSpPr>
            <p:nvPr userDrawn="1"/>
          </p:nvSpPr>
          <p:spPr bwMode="auto">
            <a:xfrm>
              <a:off x="10440986" y="4054475"/>
              <a:ext cx="50800" cy="46038"/>
            </a:xfrm>
            <a:custGeom>
              <a:avLst/>
              <a:gdLst>
                <a:gd name="T0" fmla="*/ 32 w 32"/>
                <a:gd name="T1" fmla="*/ 13 h 29"/>
                <a:gd name="T2" fmla="*/ 9 w 32"/>
                <a:gd name="T3" fmla="*/ 29 h 29"/>
                <a:gd name="T4" fmla="*/ 0 w 32"/>
                <a:gd name="T5" fmla="*/ 16 h 29"/>
                <a:gd name="T6" fmla="*/ 23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9" y="29"/>
                  </a:lnTo>
                  <a:lnTo>
                    <a:pt x="0" y="16"/>
                  </a:lnTo>
                  <a:lnTo>
                    <a:pt x="23" y="0"/>
                  </a:lnTo>
                  <a:lnTo>
                    <a:pt x="32" y="13"/>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32" name="Freeform 229"/>
            <p:cNvSpPr>
              <a:spLocks/>
            </p:cNvSpPr>
            <p:nvPr userDrawn="1"/>
          </p:nvSpPr>
          <p:spPr bwMode="auto">
            <a:xfrm>
              <a:off x="10412411" y="3989388"/>
              <a:ext cx="84138" cy="66675"/>
            </a:xfrm>
            <a:custGeom>
              <a:avLst/>
              <a:gdLst>
                <a:gd name="T0" fmla="*/ 53 w 53"/>
                <a:gd name="T1" fmla="*/ 13 h 42"/>
                <a:gd name="T2" fmla="*/ 9 w 53"/>
                <a:gd name="T3" fmla="*/ 42 h 42"/>
                <a:gd name="T4" fmla="*/ 0 w 53"/>
                <a:gd name="T5" fmla="*/ 29 h 42"/>
                <a:gd name="T6" fmla="*/ 44 w 53"/>
                <a:gd name="T7" fmla="*/ 0 h 42"/>
                <a:gd name="T8" fmla="*/ 53 w 53"/>
                <a:gd name="T9" fmla="*/ 13 h 42"/>
              </a:gdLst>
              <a:ahLst/>
              <a:cxnLst>
                <a:cxn ang="0">
                  <a:pos x="T0" y="T1"/>
                </a:cxn>
                <a:cxn ang="0">
                  <a:pos x="T2" y="T3"/>
                </a:cxn>
                <a:cxn ang="0">
                  <a:pos x="T4" y="T5"/>
                </a:cxn>
                <a:cxn ang="0">
                  <a:pos x="T6" y="T7"/>
                </a:cxn>
                <a:cxn ang="0">
                  <a:pos x="T8" y="T9"/>
                </a:cxn>
              </a:cxnLst>
              <a:rect l="0" t="0" r="r" b="b"/>
              <a:pathLst>
                <a:path w="53" h="42">
                  <a:moveTo>
                    <a:pt x="53" y="13"/>
                  </a:moveTo>
                  <a:lnTo>
                    <a:pt x="9" y="42"/>
                  </a:lnTo>
                  <a:lnTo>
                    <a:pt x="0" y="29"/>
                  </a:lnTo>
                  <a:lnTo>
                    <a:pt x="44" y="0"/>
                  </a:lnTo>
                  <a:lnTo>
                    <a:pt x="53" y="13"/>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33" name="Freeform 230"/>
            <p:cNvSpPr>
              <a:spLocks/>
            </p:cNvSpPr>
            <p:nvPr userDrawn="1"/>
          </p:nvSpPr>
          <p:spPr bwMode="auto">
            <a:xfrm>
              <a:off x="10383836" y="3967163"/>
              <a:ext cx="49213" cy="44450"/>
            </a:xfrm>
            <a:custGeom>
              <a:avLst/>
              <a:gdLst>
                <a:gd name="T0" fmla="*/ 31 w 31"/>
                <a:gd name="T1" fmla="*/ 13 h 28"/>
                <a:gd name="T2" fmla="*/ 8 w 31"/>
                <a:gd name="T3" fmla="*/ 28 h 28"/>
                <a:gd name="T4" fmla="*/ 0 w 31"/>
                <a:gd name="T5" fmla="*/ 15 h 28"/>
                <a:gd name="T6" fmla="*/ 24 w 31"/>
                <a:gd name="T7" fmla="*/ 0 h 28"/>
                <a:gd name="T8" fmla="*/ 31 w 31"/>
                <a:gd name="T9" fmla="*/ 13 h 28"/>
              </a:gdLst>
              <a:ahLst/>
              <a:cxnLst>
                <a:cxn ang="0">
                  <a:pos x="T0" y="T1"/>
                </a:cxn>
                <a:cxn ang="0">
                  <a:pos x="T2" y="T3"/>
                </a:cxn>
                <a:cxn ang="0">
                  <a:pos x="T4" y="T5"/>
                </a:cxn>
                <a:cxn ang="0">
                  <a:pos x="T6" y="T7"/>
                </a:cxn>
                <a:cxn ang="0">
                  <a:pos x="T8" y="T9"/>
                </a:cxn>
              </a:cxnLst>
              <a:rect l="0" t="0" r="r" b="b"/>
              <a:pathLst>
                <a:path w="31" h="28">
                  <a:moveTo>
                    <a:pt x="31" y="13"/>
                  </a:moveTo>
                  <a:lnTo>
                    <a:pt x="8" y="28"/>
                  </a:lnTo>
                  <a:lnTo>
                    <a:pt x="0" y="15"/>
                  </a:lnTo>
                  <a:lnTo>
                    <a:pt x="24" y="0"/>
                  </a:lnTo>
                  <a:lnTo>
                    <a:pt x="31" y="13"/>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34" name="Freeform 231"/>
            <p:cNvSpPr>
              <a:spLocks/>
            </p:cNvSpPr>
            <p:nvPr userDrawn="1"/>
          </p:nvSpPr>
          <p:spPr bwMode="auto">
            <a:xfrm>
              <a:off x="10353674" y="3924300"/>
              <a:ext cx="52388" cy="44450"/>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35" name="Freeform 232"/>
            <p:cNvSpPr>
              <a:spLocks/>
            </p:cNvSpPr>
            <p:nvPr userDrawn="1"/>
          </p:nvSpPr>
          <p:spPr bwMode="auto">
            <a:xfrm>
              <a:off x="10325099" y="3879850"/>
              <a:ext cx="52388" cy="44450"/>
            </a:xfrm>
            <a:custGeom>
              <a:avLst/>
              <a:gdLst>
                <a:gd name="T0" fmla="*/ 33 w 33"/>
                <a:gd name="T1" fmla="*/ 14 h 28"/>
                <a:gd name="T2" fmla="*/ 9 w 33"/>
                <a:gd name="T3" fmla="*/ 28 h 28"/>
                <a:gd name="T4" fmla="*/ 0 w 33"/>
                <a:gd name="T5" fmla="*/ 16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6"/>
                  </a:lnTo>
                  <a:lnTo>
                    <a:pt x="24" y="0"/>
                  </a:lnTo>
                  <a:lnTo>
                    <a:pt x="33" y="14"/>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36" name="Freeform 233"/>
            <p:cNvSpPr>
              <a:spLocks/>
            </p:cNvSpPr>
            <p:nvPr userDrawn="1"/>
          </p:nvSpPr>
          <p:spPr bwMode="auto">
            <a:xfrm>
              <a:off x="10298111" y="3836988"/>
              <a:ext cx="49213" cy="44450"/>
            </a:xfrm>
            <a:custGeom>
              <a:avLst/>
              <a:gdLst>
                <a:gd name="T0" fmla="*/ 31 w 31"/>
                <a:gd name="T1" fmla="*/ 13 h 28"/>
                <a:gd name="T2" fmla="*/ 7 w 31"/>
                <a:gd name="T3" fmla="*/ 28 h 28"/>
                <a:gd name="T4" fmla="*/ 0 w 31"/>
                <a:gd name="T5" fmla="*/ 15 h 28"/>
                <a:gd name="T6" fmla="*/ 23 w 31"/>
                <a:gd name="T7" fmla="*/ 0 h 28"/>
                <a:gd name="T8" fmla="*/ 31 w 31"/>
                <a:gd name="T9" fmla="*/ 13 h 28"/>
              </a:gdLst>
              <a:ahLst/>
              <a:cxnLst>
                <a:cxn ang="0">
                  <a:pos x="T0" y="T1"/>
                </a:cxn>
                <a:cxn ang="0">
                  <a:pos x="T2" y="T3"/>
                </a:cxn>
                <a:cxn ang="0">
                  <a:pos x="T4" y="T5"/>
                </a:cxn>
                <a:cxn ang="0">
                  <a:pos x="T6" y="T7"/>
                </a:cxn>
                <a:cxn ang="0">
                  <a:pos x="T8" y="T9"/>
                </a:cxn>
              </a:cxnLst>
              <a:rect l="0" t="0" r="r" b="b"/>
              <a:pathLst>
                <a:path w="31" h="28">
                  <a:moveTo>
                    <a:pt x="31" y="13"/>
                  </a:moveTo>
                  <a:lnTo>
                    <a:pt x="7" y="28"/>
                  </a:lnTo>
                  <a:lnTo>
                    <a:pt x="0" y="15"/>
                  </a:lnTo>
                  <a:lnTo>
                    <a:pt x="23" y="0"/>
                  </a:lnTo>
                  <a:lnTo>
                    <a:pt x="31" y="13"/>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37" name="Freeform 234"/>
            <p:cNvSpPr>
              <a:spLocks/>
            </p:cNvSpPr>
            <p:nvPr userDrawn="1"/>
          </p:nvSpPr>
          <p:spPr bwMode="auto">
            <a:xfrm>
              <a:off x="10267949" y="3770313"/>
              <a:ext cx="82550" cy="68263"/>
            </a:xfrm>
            <a:custGeom>
              <a:avLst/>
              <a:gdLst>
                <a:gd name="T0" fmla="*/ 52 w 52"/>
                <a:gd name="T1" fmla="*/ 14 h 43"/>
                <a:gd name="T2" fmla="*/ 9 w 52"/>
                <a:gd name="T3" fmla="*/ 43 h 43"/>
                <a:gd name="T4" fmla="*/ 0 w 52"/>
                <a:gd name="T5" fmla="*/ 29 h 43"/>
                <a:gd name="T6" fmla="*/ 43 w 52"/>
                <a:gd name="T7" fmla="*/ 0 h 43"/>
                <a:gd name="T8" fmla="*/ 52 w 52"/>
                <a:gd name="T9" fmla="*/ 14 h 43"/>
              </a:gdLst>
              <a:ahLst/>
              <a:cxnLst>
                <a:cxn ang="0">
                  <a:pos x="T0" y="T1"/>
                </a:cxn>
                <a:cxn ang="0">
                  <a:pos x="T2" y="T3"/>
                </a:cxn>
                <a:cxn ang="0">
                  <a:pos x="T4" y="T5"/>
                </a:cxn>
                <a:cxn ang="0">
                  <a:pos x="T6" y="T7"/>
                </a:cxn>
                <a:cxn ang="0">
                  <a:pos x="T8" y="T9"/>
                </a:cxn>
              </a:cxnLst>
              <a:rect l="0" t="0" r="r" b="b"/>
              <a:pathLst>
                <a:path w="52" h="43">
                  <a:moveTo>
                    <a:pt x="52" y="14"/>
                  </a:moveTo>
                  <a:lnTo>
                    <a:pt x="9" y="43"/>
                  </a:lnTo>
                  <a:lnTo>
                    <a:pt x="0" y="29"/>
                  </a:lnTo>
                  <a:lnTo>
                    <a:pt x="43" y="0"/>
                  </a:lnTo>
                  <a:lnTo>
                    <a:pt x="52" y="14"/>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38" name="Freeform 235"/>
            <p:cNvSpPr>
              <a:spLocks/>
            </p:cNvSpPr>
            <p:nvPr userDrawn="1"/>
          </p:nvSpPr>
          <p:spPr bwMode="auto">
            <a:xfrm>
              <a:off x="10239374" y="3748088"/>
              <a:ext cx="50800" cy="46038"/>
            </a:xfrm>
            <a:custGeom>
              <a:avLst/>
              <a:gdLst>
                <a:gd name="T0" fmla="*/ 32 w 32"/>
                <a:gd name="T1" fmla="*/ 13 h 29"/>
                <a:gd name="T2" fmla="*/ 9 w 32"/>
                <a:gd name="T3" fmla="*/ 29 h 29"/>
                <a:gd name="T4" fmla="*/ 0 w 32"/>
                <a:gd name="T5" fmla="*/ 16 h 29"/>
                <a:gd name="T6" fmla="*/ 23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9" y="29"/>
                  </a:lnTo>
                  <a:lnTo>
                    <a:pt x="0" y="16"/>
                  </a:lnTo>
                  <a:lnTo>
                    <a:pt x="23" y="0"/>
                  </a:lnTo>
                  <a:lnTo>
                    <a:pt x="32" y="13"/>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39" name="Freeform 236"/>
            <p:cNvSpPr>
              <a:spLocks/>
            </p:cNvSpPr>
            <p:nvPr userDrawn="1"/>
          </p:nvSpPr>
          <p:spPr bwMode="auto">
            <a:xfrm>
              <a:off x="10210799" y="3705225"/>
              <a:ext cx="49213" cy="44450"/>
            </a:xfrm>
            <a:custGeom>
              <a:avLst/>
              <a:gdLst>
                <a:gd name="T0" fmla="*/ 31 w 31"/>
                <a:gd name="T1" fmla="*/ 13 h 28"/>
                <a:gd name="T2" fmla="*/ 8 w 31"/>
                <a:gd name="T3" fmla="*/ 28 h 28"/>
                <a:gd name="T4" fmla="*/ 0 w 31"/>
                <a:gd name="T5" fmla="*/ 15 h 28"/>
                <a:gd name="T6" fmla="*/ 23 w 31"/>
                <a:gd name="T7" fmla="*/ 0 h 28"/>
                <a:gd name="T8" fmla="*/ 31 w 31"/>
                <a:gd name="T9" fmla="*/ 13 h 28"/>
              </a:gdLst>
              <a:ahLst/>
              <a:cxnLst>
                <a:cxn ang="0">
                  <a:pos x="T0" y="T1"/>
                </a:cxn>
                <a:cxn ang="0">
                  <a:pos x="T2" y="T3"/>
                </a:cxn>
                <a:cxn ang="0">
                  <a:pos x="T4" y="T5"/>
                </a:cxn>
                <a:cxn ang="0">
                  <a:pos x="T6" y="T7"/>
                </a:cxn>
                <a:cxn ang="0">
                  <a:pos x="T8" y="T9"/>
                </a:cxn>
              </a:cxnLst>
              <a:rect l="0" t="0" r="r" b="b"/>
              <a:pathLst>
                <a:path w="31" h="28">
                  <a:moveTo>
                    <a:pt x="31" y="13"/>
                  </a:moveTo>
                  <a:lnTo>
                    <a:pt x="8" y="28"/>
                  </a:lnTo>
                  <a:lnTo>
                    <a:pt x="0" y="15"/>
                  </a:lnTo>
                  <a:lnTo>
                    <a:pt x="23" y="0"/>
                  </a:lnTo>
                  <a:lnTo>
                    <a:pt x="31" y="13"/>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40" name="Freeform 237"/>
            <p:cNvSpPr>
              <a:spLocks/>
            </p:cNvSpPr>
            <p:nvPr userDrawn="1"/>
          </p:nvSpPr>
          <p:spPr bwMode="auto">
            <a:xfrm>
              <a:off x="10180636" y="3662363"/>
              <a:ext cx="50800" cy="42863"/>
            </a:xfrm>
            <a:custGeom>
              <a:avLst/>
              <a:gdLst>
                <a:gd name="T0" fmla="*/ 32 w 32"/>
                <a:gd name="T1" fmla="*/ 13 h 27"/>
                <a:gd name="T2" fmla="*/ 9 w 32"/>
                <a:gd name="T3" fmla="*/ 27 h 27"/>
                <a:gd name="T4" fmla="*/ 0 w 32"/>
                <a:gd name="T5" fmla="*/ 15 h 27"/>
                <a:gd name="T6" fmla="*/ 23 w 32"/>
                <a:gd name="T7" fmla="*/ 0 h 27"/>
                <a:gd name="T8" fmla="*/ 32 w 32"/>
                <a:gd name="T9" fmla="*/ 13 h 27"/>
              </a:gdLst>
              <a:ahLst/>
              <a:cxnLst>
                <a:cxn ang="0">
                  <a:pos x="T0" y="T1"/>
                </a:cxn>
                <a:cxn ang="0">
                  <a:pos x="T2" y="T3"/>
                </a:cxn>
                <a:cxn ang="0">
                  <a:pos x="T4" y="T5"/>
                </a:cxn>
                <a:cxn ang="0">
                  <a:pos x="T6" y="T7"/>
                </a:cxn>
                <a:cxn ang="0">
                  <a:pos x="T8" y="T9"/>
                </a:cxn>
              </a:cxnLst>
              <a:rect l="0" t="0" r="r" b="b"/>
              <a:pathLst>
                <a:path w="32" h="27">
                  <a:moveTo>
                    <a:pt x="32" y="13"/>
                  </a:moveTo>
                  <a:lnTo>
                    <a:pt x="9" y="27"/>
                  </a:lnTo>
                  <a:lnTo>
                    <a:pt x="0" y="15"/>
                  </a:lnTo>
                  <a:lnTo>
                    <a:pt x="23" y="0"/>
                  </a:lnTo>
                  <a:lnTo>
                    <a:pt x="32" y="13"/>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sp>
          <p:nvSpPr>
            <p:cNvPr id="41" name="Freeform 238"/>
            <p:cNvSpPr>
              <a:spLocks/>
            </p:cNvSpPr>
            <p:nvPr userDrawn="1"/>
          </p:nvSpPr>
          <p:spPr bwMode="auto">
            <a:xfrm>
              <a:off x="10152061" y="3617913"/>
              <a:ext cx="52388" cy="46038"/>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58817080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ead Me">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sz="1800"/>
          </a:p>
        </p:txBody>
      </p:sp>
      <p:sp>
        <p:nvSpPr>
          <p:cNvPr id="2" name="Title 1"/>
          <p:cNvSpPr>
            <a:spLocks noGrp="1"/>
          </p:cNvSpPr>
          <p:nvPr>
            <p:ph type="title"/>
          </p:nvPr>
        </p:nvSpPr>
        <p:spPr/>
        <p:txBody>
          <a:bodyPr/>
          <a:lstStyle>
            <a:lvl1pPr>
              <a:defRPr>
                <a:gradFill>
                  <a:gsLst>
                    <a:gs pos="2917">
                      <a:schemeClr val="bg1"/>
                    </a:gs>
                    <a:gs pos="100000">
                      <a:schemeClr val="bg1"/>
                    </a:gs>
                  </a:gsLst>
                  <a:lin ang="5400000" scaled="0"/>
                </a:gradFill>
              </a:defRPr>
            </a:lvl1pPr>
          </a:lstStyle>
          <a:p>
            <a:r>
              <a:rPr lang="en-US"/>
              <a:t>Click to edit Master title style</a:t>
            </a:r>
          </a:p>
        </p:txBody>
      </p:sp>
      <p:sp>
        <p:nvSpPr>
          <p:cNvPr id="3" name="Date Placeholder 2"/>
          <p:cNvSpPr>
            <a:spLocks noGrp="1"/>
          </p:cNvSpPr>
          <p:nvPr>
            <p:ph type="dt" sz="half" idx="10"/>
          </p:nvPr>
        </p:nvSpPr>
        <p:spPr/>
        <p:txBody>
          <a:bodyPr/>
          <a:lstStyle>
            <a:lvl1pPr>
              <a:defRPr>
                <a:gradFill>
                  <a:gsLst>
                    <a:gs pos="2917">
                      <a:schemeClr val="bg1"/>
                    </a:gs>
                    <a:gs pos="100000">
                      <a:schemeClr val="bg1"/>
                    </a:gs>
                  </a:gsLst>
                  <a:lin ang="5400000" scaled="0"/>
                </a:gradFill>
              </a:defRPr>
            </a:lvl1pPr>
          </a:lstStyle>
          <a:p>
            <a:fld id="{89DE2E20-C700-4A3A-A890-B84EE414F382}" type="datetime1">
              <a:rPr lang="en-US" smtClean="0"/>
              <a:pPr/>
              <a:t>4/17/2020</a:t>
            </a:fld>
            <a:endParaRPr lang="en-US"/>
          </a:p>
        </p:txBody>
      </p:sp>
      <p:sp>
        <p:nvSpPr>
          <p:cNvPr id="4" name="Footer Placeholder 3"/>
          <p:cNvSpPr>
            <a:spLocks noGrp="1"/>
          </p:cNvSpPr>
          <p:nvPr>
            <p:ph type="ftr" sz="quarter" idx="11"/>
          </p:nvPr>
        </p:nvSpPr>
        <p:spPr/>
        <p:txBody>
          <a:bodyPr/>
          <a:lstStyle>
            <a:lvl1pPr>
              <a:defRPr>
                <a:gradFill>
                  <a:gsLst>
                    <a:gs pos="2917">
                      <a:schemeClr val="bg1"/>
                    </a:gs>
                    <a:gs pos="100000">
                      <a:schemeClr val="bg1"/>
                    </a:gs>
                  </a:gsLst>
                  <a:lin ang="5400000" scaled="0"/>
                </a:gradFill>
              </a:defRPr>
            </a:lvl1pPr>
          </a:lstStyle>
          <a:p>
            <a:r>
              <a:rPr lang="en-US"/>
              <a:t>microsoft.com/education</a:t>
            </a:r>
            <a:endParaRPr lang="en-US" dirty="0"/>
          </a:p>
        </p:txBody>
      </p:sp>
      <p:sp>
        <p:nvSpPr>
          <p:cNvPr id="5" name="Slide Number Placeholder 4"/>
          <p:cNvSpPr>
            <a:spLocks noGrp="1"/>
          </p:cNvSpPr>
          <p:nvPr>
            <p:ph type="sldNum" sz="quarter" idx="12"/>
          </p:nvPr>
        </p:nvSpPr>
        <p:spPr/>
        <p:txBody>
          <a:bodyPr/>
          <a:lstStyle>
            <a:lvl1pPr>
              <a:defRPr>
                <a:gradFill>
                  <a:gsLst>
                    <a:gs pos="2917">
                      <a:schemeClr val="bg1"/>
                    </a:gs>
                    <a:gs pos="100000">
                      <a:schemeClr val="bg1"/>
                    </a:gs>
                  </a:gsLst>
                  <a:lin ang="5400000" scaled="0"/>
                </a:gradFill>
              </a:defRPr>
            </a:lvl1pPr>
          </a:lstStyle>
          <a:p>
            <a:fld id="{9373C030-8119-439B-A7A2-330B51F4C009}" type="slidenum">
              <a:rPr lang="en-US" smtClean="0"/>
              <a:pPr/>
              <a:t>‹#›</a:t>
            </a:fld>
            <a:endParaRPr lang="en-US"/>
          </a:p>
        </p:txBody>
      </p:sp>
      <p:sp>
        <p:nvSpPr>
          <p:cNvPr id="8" name="Text Placeholder 7"/>
          <p:cNvSpPr>
            <a:spLocks noGrp="1"/>
          </p:cNvSpPr>
          <p:nvPr>
            <p:ph type="body" sz="quarter" idx="13"/>
          </p:nvPr>
        </p:nvSpPr>
        <p:spPr>
          <a:xfrm>
            <a:off x="381001" y="1073609"/>
            <a:ext cx="11426825" cy="5411453"/>
          </a:xfrm>
        </p:spPr>
        <p:txBody>
          <a:bodyPr/>
          <a:lstStyle>
            <a:lvl1pPr>
              <a:defRPr>
                <a:gradFill>
                  <a:gsLst>
                    <a:gs pos="2917">
                      <a:schemeClr val="bg1"/>
                    </a:gs>
                    <a:gs pos="100000">
                      <a:schemeClr val="bg1"/>
                    </a:gs>
                  </a:gsLst>
                  <a:lin ang="5400000" scaled="0"/>
                </a:gradFill>
              </a:defRPr>
            </a:lvl1pPr>
            <a:lvl2pPr>
              <a:defRPr>
                <a:gradFill>
                  <a:gsLst>
                    <a:gs pos="2917">
                      <a:schemeClr val="bg1"/>
                    </a:gs>
                    <a:gs pos="100000">
                      <a:schemeClr val="bg1"/>
                    </a:gs>
                  </a:gsLst>
                  <a:lin ang="5400000" scaled="0"/>
                </a:gradFill>
              </a:defRPr>
            </a:lvl2pPr>
            <a:lvl3pPr>
              <a:buClr>
                <a:schemeClr val="bg1"/>
              </a:buClr>
              <a:defRPr>
                <a:gradFill>
                  <a:gsLst>
                    <a:gs pos="2917">
                      <a:schemeClr val="bg1"/>
                    </a:gs>
                    <a:gs pos="100000">
                      <a:schemeClr val="bg1"/>
                    </a:gs>
                  </a:gsLst>
                  <a:lin ang="5400000" scaled="0"/>
                </a:gradFill>
              </a:defRPr>
            </a:lvl3pPr>
            <a:lvl4pPr>
              <a:buClr>
                <a:schemeClr val="bg1"/>
              </a:buClr>
              <a:defRPr>
                <a:gradFill>
                  <a:gsLst>
                    <a:gs pos="2917">
                      <a:schemeClr val="bg1"/>
                    </a:gs>
                    <a:gs pos="100000">
                      <a:schemeClr val="bg1"/>
                    </a:gs>
                  </a:gsLst>
                  <a:lin ang="5400000" scaled="0"/>
                </a:gradFill>
              </a:defRPr>
            </a:lvl4pPr>
            <a:lvl5pPr>
              <a:buClr>
                <a:schemeClr val="bg1"/>
              </a:buClr>
              <a:defRPr>
                <a:gradFill>
                  <a:gsLst>
                    <a:gs pos="2917">
                      <a:schemeClr val="bg1"/>
                    </a:gs>
                    <a:gs pos="100000">
                      <a:schemeClr val="bg1"/>
                    </a:gs>
                  </a:gsLst>
                  <a:lin ang="5400000" scaled="0"/>
                </a:gra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415435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sz="1800"/>
          </a:p>
        </p:txBody>
      </p:sp>
      <p:sp>
        <p:nvSpPr>
          <p:cNvPr id="2" name="Title 1"/>
          <p:cNvSpPr>
            <a:spLocks noGrp="1"/>
          </p:cNvSpPr>
          <p:nvPr>
            <p:ph type="title"/>
          </p:nvPr>
        </p:nvSpPr>
        <p:spPr/>
        <p:txBody>
          <a:bodyPr/>
          <a:lstStyle>
            <a:lvl1pPr>
              <a:defRPr>
                <a:gradFill>
                  <a:gsLst>
                    <a:gs pos="2917">
                      <a:schemeClr val="bg1"/>
                    </a:gs>
                    <a:gs pos="100000">
                      <a:schemeClr val="bg1"/>
                    </a:gs>
                  </a:gsLst>
                  <a:lin ang="5400000" scaled="0"/>
                </a:gradFill>
              </a:defRPr>
            </a:lvl1pPr>
          </a:lstStyle>
          <a:p>
            <a:r>
              <a:rPr lang="en-US"/>
              <a:t>Click to edit Master title style</a:t>
            </a:r>
          </a:p>
        </p:txBody>
      </p:sp>
      <p:sp>
        <p:nvSpPr>
          <p:cNvPr id="8" name="Text Placeholder 7"/>
          <p:cNvSpPr>
            <a:spLocks noGrp="1"/>
          </p:cNvSpPr>
          <p:nvPr>
            <p:ph type="body" sz="quarter" idx="13"/>
          </p:nvPr>
        </p:nvSpPr>
        <p:spPr>
          <a:xfrm>
            <a:off x="381001" y="1073608"/>
            <a:ext cx="11426825" cy="4816553"/>
          </a:xfrm>
        </p:spPr>
        <p:txBody>
          <a:bodyPr anchor="ctr"/>
          <a:lstStyle>
            <a:lvl1pPr>
              <a:defRPr sz="1800">
                <a:gradFill>
                  <a:gsLst>
                    <a:gs pos="2917">
                      <a:schemeClr val="bg1"/>
                    </a:gs>
                    <a:gs pos="100000">
                      <a:schemeClr val="bg1"/>
                    </a:gs>
                  </a:gsLst>
                  <a:lin ang="5400000" scaled="0"/>
                </a:gradFill>
              </a:defRPr>
            </a:lvl1pPr>
            <a:lvl2pPr>
              <a:defRPr sz="1600">
                <a:gradFill>
                  <a:gsLst>
                    <a:gs pos="2917">
                      <a:schemeClr val="bg1"/>
                    </a:gs>
                    <a:gs pos="100000">
                      <a:schemeClr val="bg1"/>
                    </a:gs>
                  </a:gsLst>
                  <a:lin ang="5400000" scaled="0"/>
                </a:gradFill>
              </a:defRPr>
            </a:lvl2pPr>
            <a:lvl3pPr>
              <a:buClr>
                <a:schemeClr val="bg1"/>
              </a:buClr>
              <a:defRPr sz="1600">
                <a:gradFill>
                  <a:gsLst>
                    <a:gs pos="2917">
                      <a:schemeClr val="bg1"/>
                    </a:gs>
                    <a:gs pos="100000">
                      <a:schemeClr val="bg1"/>
                    </a:gs>
                  </a:gsLst>
                  <a:lin ang="5400000" scaled="0"/>
                </a:gradFill>
              </a:defRPr>
            </a:lvl3pPr>
            <a:lvl4pPr>
              <a:buClr>
                <a:schemeClr val="bg1"/>
              </a:buClr>
              <a:defRPr sz="1600">
                <a:gradFill>
                  <a:gsLst>
                    <a:gs pos="2917">
                      <a:schemeClr val="bg1"/>
                    </a:gs>
                    <a:gs pos="100000">
                      <a:schemeClr val="bg1"/>
                    </a:gs>
                  </a:gsLst>
                  <a:lin ang="5400000" scaled="0"/>
                </a:gradFill>
              </a:defRPr>
            </a:lvl4pPr>
            <a:lvl5pPr>
              <a:buClr>
                <a:schemeClr val="bg1"/>
              </a:buClr>
              <a:defRPr sz="1600">
                <a:gradFill>
                  <a:gsLst>
                    <a:gs pos="2917">
                      <a:schemeClr val="bg1"/>
                    </a:gs>
                    <a:gs pos="100000">
                      <a:schemeClr val="bg1"/>
                    </a:gs>
                  </a:gsLst>
                  <a:lin ang="5400000" scaled="0"/>
                </a:gra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67807" y="6116478"/>
            <a:ext cx="1358520" cy="515207"/>
          </a:xfrm>
          <a:prstGeom prst="rect">
            <a:avLst/>
          </a:prstGeom>
        </p:spPr>
      </p:pic>
    </p:spTree>
    <p:extLst>
      <p:ext uri="{BB962C8B-B14F-4D97-AF65-F5344CB8AC3E}">
        <p14:creationId xmlns:p14="http://schemas.microsoft.com/office/powerpoint/2010/main" val="167349283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leprompter Talk Track">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381292" y="816858"/>
            <a:ext cx="11429416" cy="5422018"/>
          </a:xfrm>
          <a:prstGeom prst="rect">
            <a:avLst/>
          </a:prstGeom>
        </p:spPr>
        <p:txBody>
          <a:bodyPr/>
          <a:lstStyle>
            <a:lvl1pPr marL="284680" indent="-284680">
              <a:spcBef>
                <a:spcPts val="588"/>
              </a:spcBef>
              <a:spcAft>
                <a:spcPts val="588"/>
              </a:spcAft>
              <a:buClr>
                <a:schemeClr val="tx1"/>
              </a:buClr>
              <a:buSzPct val="90000"/>
              <a:buFont typeface="Arial" pitchFamily="34" charset="0"/>
              <a:buChar char="•"/>
              <a:defRPr sz="2353">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1pPr>
            <a:lvl2pPr marL="560027" indent="-275348">
              <a:spcBef>
                <a:spcPts val="588"/>
              </a:spcBef>
              <a:spcAft>
                <a:spcPts val="588"/>
              </a:spcAft>
              <a:buClr>
                <a:schemeClr val="tx1"/>
              </a:buClr>
              <a:buSzPct val="90000"/>
              <a:buFont typeface="Arial" pitchFamily="34" charset="0"/>
              <a:buChar char="•"/>
              <a:defRPr sz="2353">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2pPr>
            <a:lvl3pPr marL="844707" indent="-284680">
              <a:spcBef>
                <a:spcPts val="588"/>
              </a:spcBef>
              <a:spcAft>
                <a:spcPts val="588"/>
              </a:spcAft>
              <a:buClr>
                <a:schemeClr val="tx1"/>
              </a:buClr>
              <a:buSzPct val="90000"/>
              <a:buFont typeface="Arial" pitchFamily="34" charset="0"/>
              <a:buChar char="•"/>
              <a:defRPr sz="2353">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3pPr>
            <a:lvl4pPr marL="1068718" indent="-224011">
              <a:spcBef>
                <a:spcPts val="588"/>
              </a:spcBef>
              <a:spcAft>
                <a:spcPts val="588"/>
              </a:spcAft>
              <a:buClr>
                <a:schemeClr val="tx1"/>
              </a:buClr>
              <a:buSzPct val="90000"/>
              <a:buFont typeface="Arial" pitchFamily="34" charset="0"/>
              <a:buChar char="•"/>
              <a:defRPr sz="2353">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4pPr>
            <a:lvl5pPr marL="1292727" indent="-224011">
              <a:spcBef>
                <a:spcPts val="588"/>
              </a:spcBef>
              <a:spcAft>
                <a:spcPts val="588"/>
              </a:spcAft>
              <a:buClr>
                <a:schemeClr val="tx1"/>
              </a:buClr>
              <a:buSzPct val="90000"/>
              <a:buFont typeface="Arial" pitchFamily="34" charset="0"/>
              <a:buChar char="•"/>
              <a:defRPr sz="2353">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US"/>
              <a:t>Next:</a:t>
            </a:r>
          </a:p>
        </p:txBody>
      </p:sp>
      <p:sp>
        <p:nvSpPr>
          <p:cNvPr id="5" name="Title 4"/>
          <p:cNvSpPr>
            <a:spLocks noGrp="1"/>
          </p:cNvSpPr>
          <p:nvPr>
            <p:ph type="title"/>
          </p:nvPr>
        </p:nvSpPr>
        <p:spPr>
          <a:xfrm>
            <a:off x="381292" y="365781"/>
            <a:ext cx="3867377" cy="362123"/>
          </a:xfrm>
        </p:spPr>
        <p:txBody>
          <a:bodyPr>
            <a:spAutoFit/>
          </a:bodyPr>
          <a:lstStyle>
            <a:lvl1pPr>
              <a:defRPr sz="2353">
                <a:gradFill>
                  <a:gsLst>
                    <a:gs pos="0">
                      <a:srgbClr val="F3F3F3"/>
                    </a:gs>
                    <a:gs pos="100000">
                      <a:srgbClr val="F3F3F3">
                        <a:alpha val="99000"/>
                      </a:srgbClr>
                    </a:gs>
                  </a:gsLst>
                  <a:lin ang="8100000" scaled="1"/>
                </a:gradFill>
                <a:latin typeface="Segoe UI Semibold" panose="020B0702040204020203" pitchFamily="34" charset="0"/>
                <a:cs typeface="Segoe UI Semibold" panose="020B0702040204020203" pitchFamily="34" charset="0"/>
              </a:defRPr>
            </a:lvl1pPr>
          </a:lstStyle>
          <a:p>
            <a:r>
              <a:rPr lang="en-US" dirty="0"/>
              <a:t>Click to edit Master title style</a:t>
            </a:r>
          </a:p>
        </p:txBody>
      </p:sp>
    </p:spTree>
    <p:extLst>
      <p:ext uri="{BB962C8B-B14F-4D97-AF65-F5344CB8AC3E}">
        <p14:creationId xmlns:p14="http://schemas.microsoft.com/office/powerpoint/2010/main" val="15091189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ustom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37070569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Edu Grade 9-1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293" y="365781"/>
            <a:ext cx="3406414" cy="3063219"/>
          </a:xfrm>
        </p:spPr>
        <p:txBody>
          <a:bodyPr wrap="square" tIns="0" bIns="0" anchor="ctr"/>
          <a:lstStyle>
            <a:lvl1pPr>
              <a:defRPr sz="3921">
                <a:gradFill>
                  <a:gsLst>
                    <a:gs pos="2917">
                      <a:srgbClr val="0078D7"/>
                    </a:gs>
                    <a:gs pos="100000">
                      <a:srgbClr val="0078D7">
                        <a:alpha val="99000"/>
                      </a:srgbClr>
                    </a:gs>
                  </a:gsLst>
                  <a:lin ang="5400000" scaled="0"/>
                </a:gradFill>
                <a:latin typeface="Segoe UI Semilight" panose="020B0402040204020203" pitchFamily="34" charset="0"/>
                <a:cs typeface="Segoe UI Semilight" panose="020B0402040204020203" pitchFamily="34" charset="0"/>
              </a:defRPr>
            </a:lvl1pPr>
          </a:lstStyle>
          <a:p>
            <a:r>
              <a:rPr lang="en-US" dirty="0"/>
              <a:t>Click to add presentation title</a:t>
            </a:r>
          </a:p>
        </p:txBody>
      </p:sp>
      <p:sp>
        <p:nvSpPr>
          <p:cNvPr id="5" name="Picture Placeholder 4"/>
          <p:cNvSpPr>
            <a:spLocks noGrp="1"/>
          </p:cNvSpPr>
          <p:nvPr>
            <p:ph type="pic" sz="quarter" idx="10"/>
          </p:nvPr>
        </p:nvSpPr>
        <p:spPr>
          <a:xfrm>
            <a:off x="4004343" y="0"/>
            <a:ext cx="8187657" cy="6858000"/>
          </a:xfrm>
          <a:blipFill>
            <a:blip r:embed="rId2"/>
            <a:srcRect/>
            <a:stretch>
              <a:fillRect/>
            </a:stretch>
          </a:blipFill>
        </p:spPr>
        <p:txBody>
          <a:bodyPr anchor="ctr"/>
          <a:lstStyle>
            <a:lvl1pPr algn="ctr">
              <a:defRPr>
                <a:solidFill>
                  <a:schemeClr val="bg1">
                    <a:alpha val="0"/>
                  </a:schemeClr>
                </a:solidFill>
              </a:defRPr>
            </a:lvl1pPr>
          </a:lstStyle>
          <a:p>
            <a:endParaRPr lang="en-US" dirty="0"/>
          </a:p>
        </p:txBody>
      </p:sp>
      <p:sp>
        <p:nvSpPr>
          <p:cNvPr id="16" name="Text Placeholder 15"/>
          <p:cNvSpPr>
            <a:spLocks noGrp="1"/>
          </p:cNvSpPr>
          <p:nvPr>
            <p:ph type="body" sz="quarter" idx="11" hasCustomPrompt="1"/>
          </p:nvPr>
        </p:nvSpPr>
        <p:spPr>
          <a:xfrm>
            <a:off x="381292" y="3429001"/>
            <a:ext cx="3406414" cy="2059267"/>
          </a:xfrm>
        </p:spPr>
        <p:txBody>
          <a:bodyPr tIns="0" bIns="0" anchor="ctr"/>
          <a:lstStyle>
            <a:lvl1pPr>
              <a:defRPr sz="1961">
                <a:gradFill>
                  <a:gsLst>
                    <a:gs pos="2917">
                      <a:schemeClr val="tx1">
                        <a:lumMod val="75000"/>
                      </a:schemeClr>
                    </a:gs>
                    <a:gs pos="100000">
                      <a:schemeClr val="tx1">
                        <a:lumMod val="75000"/>
                        <a:alpha val="99000"/>
                      </a:schemeClr>
                    </a:gs>
                  </a:gsLst>
                  <a:lin ang="5400000" scaled="0"/>
                </a:gradFill>
              </a:defRPr>
            </a:lvl1pPr>
            <a:lvl2pPr>
              <a:defRPr sz="1765">
                <a:gradFill>
                  <a:gsLst>
                    <a:gs pos="2917">
                      <a:schemeClr val="tx1">
                        <a:lumMod val="75000"/>
                      </a:schemeClr>
                    </a:gs>
                    <a:gs pos="100000">
                      <a:schemeClr val="tx1">
                        <a:lumMod val="75000"/>
                        <a:alpha val="99000"/>
                      </a:schemeClr>
                    </a:gs>
                  </a:gsLst>
                  <a:lin ang="5400000" scaled="0"/>
                </a:gradFill>
              </a:defRPr>
            </a:lvl2pPr>
            <a:lvl3pPr marL="3112" indent="0">
              <a:buNone/>
              <a:defRPr sz="1961">
                <a:gradFill>
                  <a:gsLst>
                    <a:gs pos="2917">
                      <a:schemeClr val="bg1"/>
                    </a:gs>
                    <a:gs pos="100000">
                      <a:schemeClr val="bg1">
                        <a:alpha val="99000"/>
                      </a:schemeClr>
                    </a:gs>
                  </a:gsLst>
                  <a:lin ang="5400000" scaled="0"/>
                </a:gradFill>
              </a:defRPr>
            </a:lvl3pPr>
            <a:lvl4pPr>
              <a:defRPr sz="1961">
                <a:gradFill>
                  <a:gsLst>
                    <a:gs pos="2917">
                      <a:schemeClr val="bg1"/>
                    </a:gs>
                    <a:gs pos="100000">
                      <a:schemeClr val="bg1">
                        <a:alpha val="99000"/>
                      </a:schemeClr>
                    </a:gs>
                  </a:gsLst>
                  <a:lin ang="5400000" scaled="0"/>
                </a:gradFill>
              </a:defRPr>
            </a:lvl4pPr>
            <a:lvl5pPr>
              <a:defRPr sz="1961">
                <a:gradFill>
                  <a:gsLst>
                    <a:gs pos="2917">
                      <a:schemeClr val="bg1"/>
                    </a:gs>
                    <a:gs pos="100000">
                      <a:schemeClr val="bg1">
                        <a:alpha val="99000"/>
                      </a:schemeClr>
                    </a:gs>
                  </a:gsLst>
                  <a:lin ang="5400000" scaled="0"/>
                </a:gradFill>
              </a:defRPr>
            </a:lvl5pPr>
          </a:lstStyle>
          <a:p>
            <a:pPr lvl="0"/>
            <a:r>
              <a:rPr lang="en-US" dirty="0"/>
              <a:t>Click to add byline</a:t>
            </a:r>
          </a:p>
          <a:p>
            <a:pPr lvl="1"/>
            <a:r>
              <a:rPr lang="en-US" dirty="0"/>
              <a:t>Second level</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43932" y="5993527"/>
            <a:ext cx="1693738" cy="759254"/>
          </a:xfrm>
          <a:prstGeom prst="rect">
            <a:avLst/>
          </a:prstGeom>
        </p:spPr>
      </p:pic>
    </p:spTree>
    <p:extLst>
      <p:ext uri="{BB962C8B-B14F-4D97-AF65-F5344CB8AC3E}">
        <p14:creationId xmlns:p14="http://schemas.microsoft.com/office/powerpoint/2010/main" val="267387979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3"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1" indent="0">
              <a:buNone/>
              <a:defRPr/>
            </a:lvl3pPr>
            <a:lvl4pPr marL="448141" indent="0">
              <a:buNone/>
              <a:defRPr/>
            </a:lvl4pPr>
            <a:lvl5pPr marL="67221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02000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rgbClr val="442359"/>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5054" y="1320306"/>
            <a:ext cx="11890296" cy="1822989"/>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5" name="Text Placeholder 10"/>
          <p:cNvSpPr>
            <a:spLocks noGrp="1"/>
          </p:cNvSpPr>
          <p:nvPr>
            <p:ph type="body" sz="quarter" idx="14"/>
          </p:nvPr>
        </p:nvSpPr>
        <p:spPr>
          <a:xfrm>
            <a:off x="426227" y="2838296"/>
            <a:ext cx="5945148"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45155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4142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4 Customer Quot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5" name="Text Placeholder 4"/>
          <p:cNvSpPr>
            <a:spLocks noGrp="1"/>
          </p:cNvSpPr>
          <p:nvPr>
            <p:ph type="body" sz="quarter" idx="18"/>
          </p:nvPr>
        </p:nvSpPr>
        <p:spPr>
          <a:xfrm>
            <a:off x="316867" y="3115358"/>
            <a:ext cx="2753701" cy="3376863"/>
          </a:xfrm>
        </p:spPr>
        <p:txBody>
          <a:bodyPr/>
          <a:lstStyle>
            <a:lvl1pPr marL="59137" indent="-59137">
              <a:defRPr sz="1176"/>
            </a:lvl1pPr>
            <a:lvl2pPr marL="59137" indent="0">
              <a:defRPr sz="1078"/>
            </a:lvl2pPr>
            <a:lvl3pPr marL="59137" indent="0">
              <a:defRPr sz="1078"/>
            </a:lvl3pPr>
            <a:lvl4pPr marL="59137" indent="0">
              <a:defRPr sz="1078"/>
            </a:lvl4pPr>
            <a:lvl5pPr marL="59137" indent="0">
              <a:defRPr sz="1078"/>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4"/>
          <p:cNvSpPr>
            <a:spLocks noGrp="1"/>
          </p:cNvSpPr>
          <p:nvPr>
            <p:ph type="body" sz="quarter" idx="19"/>
          </p:nvPr>
        </p:nvSpPr>
        <p:spPr>
          <a:xfrm>
            <a:off x="3230247" y="3115358"/>
            <a:ext cx="2753701" cy="3376863"/>
          </a:xfrm>
        </p:spPr>
        <p:txBody>
          <a:bodyPr/>
          <a:lstStyle>
            <a:lvl1pPr marL="59137" indent="-59137">
              <a:defRPr sz="1176"/>
            </a:lvl1pPr>
            <a:lvl2pPr marL="59137" indent="0">
              <a:defRPr sz="1078"/>
            </a:lvl2pPr>
            <a:lvl3pPr marL="59137" indent="0">
              <a:defRPr sz="1078"/>
            </a:lvl3pPr>
            <a:lvl4pPr marL="59137" indent="0">
              <a:defRPr sz="1078"/>
            </a:lvl4pPr>
            <a:lvl5pPr marL="59137" indent="0">
              <a:defRPr sz="1078"/>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4"/>
          <p:cNvSpPr>
            <a:spLocks noGrp="1"/>
          </p:cNvSpPr>
          <p:nvPr>
            <p:ph type="body" sz="quarter" idx="20"/>
          </p:nvPr>
        </p:nvSpPr>
        <p:spPr>
          <a:xfrm>
            <a:off x="6143628" y="3115358"/>
            <a:ext cx="2753701" cy="3376863"/>
          </a:xfrm>
        </p:spPr>
        <p:txBody>
          <a:bodyPr/>
          <a:lstStyle>
            <a:lvl1pPr marL="59137" indent="-59137">
              <a:defRPr sz="1176"/>
            </a:lvl1pPr>
            <a:lvl2pPr marL="59137" indent="0">
              <a:defRPr sz="1078"/>
            </a:lvl2pPr>
            <a:lvl3pPr marL="59137" indent="0">
              <a:defRPr sz="1078"/>
            </a:lvl3pPr>
            <a:lvl4pPr marL="59137" indent="0">
              <a:defRPr sz="1078"/>
            </a:lvl4pPr>
            <a:lvl5pPr marL="59137" indent="0">
              <a:defRPr sz="1078"/>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4"/>
          <p:cNvSpPr>
            <a:spLocks noGrp="1"/>
          </p:cNvSpPr>
          <p:nvPr>
            <p:ph type="body" sz="quarter" idx="21"/>
          </p:nvPr>
        </p:nvSpPr>
        <p:spPr>
          <a:xfrm>
            <a:off x="9057008" y="3115358"/>
            <a:ext cx="2753701" cy="3376863"/>
          </a:xfrm>
        </p:spPr>
        <p:txBody>
          <a:bodyPr/>
          <a:lstStyle>
            <a:lvl1pPr marL="59137" indent="-59137">
              <a:defRPr sz="1176"/>
            </a:lvl1pPr>
            <a:lvl2pPr marL="59137" indent="0">
              <a:defRPr sz="1078"/>
            </a:lvl2pPr>
            <a:lvl3pPr marL="59137" indent="0">
              <a:defRPr sz="1078"/>
            </a:lvl3pPr>
            <a:lvl4pPr marL="59137" indent="0">
              <a:defRPr sz="1078"/>
            </a:lvl4pPr>
            <a:lvl5pPr marL="59137" indent="0">
              <a:defRPr sz="1078"/>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Picture Placeholder 8"/>
          <p:cNvSpPr>
            <a:spLocks noGrp="1" noChangeAspect="1"/>
          </p:cNvSpPr>
          <p:nvPr>
            <p:ph type="pic" sz="quarter" idx="14" hasCustomPrompt="1"/>
          </p:nvPr>
        </p:nvSpPr>
        <p:spPr>
          <a:xfrm>
            <a:off x="381293" y="1447963"/>
            <a:ext cx="2689274" cy="1511000"/>
          </a:xfrm>
          <a:noFill/>
        </p:spPr>
        <p:txBody>
          <a:bodyPr lIns="91440" tIns="0" rIns="91440" bIns="182880" anchor="b"/>
          <a:lstStyle>
            <a:lvl1pPr marL="0" indent="0" algn="ctr">
              <a:spcAft>
                <a:spcPts val="1765"/>
              </a:spcAft>
              <a:buNone/>
              <a:defRPr sz="980" baseline="0">
                <a:solidFill>
                  <a:srgbClr val="C00000"/>
                </a:solidFill>
              </a:defRPr>
            </a:lvl1pPr>
          </a:lstStyle>
          <a:p>
            <a:r>
              <a:rPr lang="en-US" dirty="0"/>
              <a:t>Paste school image here. To remove crop: Picture Tools &gt; Crop drop menu &gt; Fit</a:t>
            </a:r>
          </a:p>
        </p:txBody>
      </p:sp>
      <p:sp>
        <p:nvSpPr>
          <p:cNvPr id="20" name="Text Placeholder 2"/>
          <p:cNvSpPr>
            <a:spLocks noGrp="1"/>
          </p:cNvSpPr>
          <p:nvPr>
            <p:ph type="body" sz="quarter" idx="28"/>
          </p:nvPr>
        </p:nvSpPr>
        <p:spPr>
          <a:xfrm>
            <a:off x="381293" y="838962"/>
            <a:ext cx="3008452" cy="454420"/>
          </a:xfrm>
        </p:spPr>
        <p:txBody>
          <a:bodyPr wrap="none">
            <a:spAutoFit/>
          </a:bodyPr>
          <a:lstStyle>
            <a:lvl1pPr marL="0" indent="0">
              <a:buNone/>
              <a:defRPr sz="2353">
                <a:gradFill>
                  <a:gsLst>
                    <a:gs pos="2917">
                      <a:srgbClr val="505050"/>
                    </a:gs>
                    <a:gs pos="100000">
                      <a:srgbClr val="505050"/>
                    </a:gs>
                  </a:gsLst>
                  <a:lin ang="5400000" scaled="0"/>
                </a:gradFill>
              </a:defRPr>
            </a:lvl1pPr>
          </a:lstStyle>
          <a:p>
            <a:pPr lvl="0"/>
            <a:r>
              <a:rPr lang="en-US" dirty="0"/>
              <a:t>Edit Master text styles</a:t>
            </a:r>
          </a:p>
        </p:txBody>
      </p:sp>
      <p:sp>
        <p:nvSpPr>
          <p:cNvPr id="21" name="Picture Placeholder 8"/>
          <p:cNvSpPr>
            <a:spLocks noGrp="1" noChangeAspect="1"/>
          </p:cNvSpPr>
          <p:nvPr>
            <p:ph type="pic" sz="quarter" idx="29" hasCustomPrompt="1"/>
          </p:nvPr>
        </p:nvSpPr>
        <p:spPr>
          <a:xfrm>
            <a:off x="3294673" y="1447963"/>
            <a:ext cx="2689274" cy="1511000"/>
          </a:xfrm>
          <a:noFill/>
        </p:spPr>
        <p:txBody>
          <a:bodyPr lIns="91440" tIns="0" rIns="91440" bIns="182880" anchor="b"/>
          <a:lstStyle>
            <a:lvl1pPr marL="0" indent="0" algn="ctr">
              <a:spcAft>
                <a:spcPts val="1765"/>
              </a:spcAft>
              <a:buNone/>
              <a:defRPr sz="980" baseline="0">
                <a:solidFill>
                  <a:srgbClr val="C00000"/>
                </a:solidFill>
              </a:defRPr>
            </a:lvl1pPr>
          </a:lstStyle>
          <a:p>
            <a:r>
              <a:rPr lang="en-US" dirty="0"/>
              <a:t>Paste school image here. To remove crop: Picture Tools &gt; Crop drop menu &gt; Fit</a:t>
            </a:r>
          </a:p>
        </p:txBody>
      </p:sp>
      <p:sp>
        <p:nvSpPr>
          <p:cNvPr id="22" name="Picture Placeholder 8"/>
          <p:cNvSpPr>
            <a:spLocks noGrp="1" noChangeAspect="1"/>
          </p:cNvSpPr>
          <p:nvPr>
            <p:ph type="pic" sz="quarter" idx="30" hasCustomPrompt="1"/>
          </p:nvPr>
        </p:nvSpPr>
        <p:spPr>
          <a:xfrm>
            <a:off x="6208053" y="1447963"/>
            <a:ext cx="2689274" cy="1511000"/>
          </a:xfrm>
          <a:noFill/>
        </p:spPr>
        <p:txBody>
          <a:bodyPr lIns="91440" tIns="0" rIns="91440" bIns="182880" anchor="b"/>
          <a:lstStyle>
            <a:lvl1pPr marL="0" indent="0" algn="ctr">
              <a:spcAft>
                <a:spcPts val="1765"/>
              </a:spcAft>
              <a:buNone/>
              <a:defRPr sz="980" baseline="0">
                <a:solidFill>
                  <a:srgbClr val="C00000"/>
                </a:solidFill>
              </a:defRPr>
            </a:lvl1pPr>
          </a:lstStyle>
          <a:p>
            <a:r>
              <a:rPr lang="en-US" dirty="0"/>
              <a:t>Paste school image here. To remove crop: Picture Tools &gt; Crop drop menu &gt; Fit</a:t>
            </a:r>
          </a:p>
        </p:txBody>
      </p:sp>
      <p:sp>
        <p:nvSpPr>
          <p:cNvPr id="23" name="Picture Placeholder 8"/>
          <p:cNvSpPr>
            <a:spLocks noGrp="1" noChangeAspect="1"/>
          </p:cNvSpPr>
          <p:nvPr>
            <p:ph type="pic" sz="quarter" idx="31" hasCustomPrompt="1"/>
          </p:nvPr>
        </p:nvSpPr>
        <p:spPr>
          <a:xfrm>
            <a:off x="9121434" y="1447963"/>
            <a:ext cx="2689274" cy="1511000"/>
          </a:xfrm>
          <a:noFill/>
        </p:spPr>
        <p:txBody>
          <a:bodyPr lIns="91440" tIns="0" rIns="91440" bIns="182880" anchor="b"/>
          <a:lstStyle>
            <a:lvl1pPr marL="0" indent="0" algn="ctr">
              <a:spcAft>
                <a:spcPts val="1765"/>
              </a:spcAft>
              <a:buNone/>
              <a:defRPr sz="980" baseline="0">
                <a:solidFill>
                  <a:srgbClr val="C00000"/>
                </a:solidFill>
              </a:defRPr>
            </a:lvl1pPr>
          </a:lstStyle>
          <a:p>
            <a:r>
              <a:rPr lang="en-US" dirty="0"/>
              <a:t>Paste school image here. To remove crop: Picture Tools &gt; Crop drop menu &gt; Fit</a:t>
            </a:r>
          </a:p>
        </p:txBody>
      </p:sp>
      <p:sp>
        <p:nvSpPr>
          <p:cNvPr id="16" name="Date Placeholder 15"/>
          <p:cNvSpPr>
            <a:spLocks noGrp="1"/>
          </p:cNvSpPr>
          <p:nvPr>
            <p:ph type="dt" sz="half" idx="32"/>
          </p:nvPr>
        </p:nvSpPr>
        <p:spPr/>
        <p:txBody>
          <a:bodyPr/>
          <a:lstStyle/>
          <a:p>
            <a:fld id="{89DE2E20-C700-4A3A-A890-B84EE414F382}" type="datetime1">
              <a:rPr lang="en-US" smtClean="0"/>
              <a:t>4/17/2020</a:t>
            </a:fld>
            <a:endParaRPr lang="en-US"/>
          </a:p>
        </p:txBody>
      </p:sp>
      <p:sp>
        <p:nvSpPr>
          <p:cNvPr id="17" name="Footer Placeholder 16"/>
          <p:cNvSpPr>
            <a:spLocks noGrp="1"/>
          </p:cNvSpPr>
          <p:nvPr>
            <p:ph type="ftr" sz="quarter" idx="33"/>
          </p:nvPr>
        </p:nvSpPr>
        <p:spPr/>
        <p:txBody>
          <a:bodyPr/>
          <a:lstStyle/>
          <a:p>
            <a:r>
              <a:rPr lang="en-US"/>
              <a:t>microsoft.com/education</a:t>
            </a:r>
            <a:endParaRPr lang="en-US" dirty="0"/>
          </a:p>
        </p:txBody>
      </p:sp>
      <p:sp>
        <p:nvSpPr>
          <p:cNvPr id="19" name="Slide Number Placeholder 18"/>
          <p:cNvSpPr>
            <a:spLocks noGrp="1"/>
          </p:cNvSpPr>
          <p:nvPr>
            <p:ph type="sldNum" sz="quarter" idx="34"/>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333802917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016" y="1186356"/>
            <a:ext cx="9562679" cy="2697988"/>
          </a:xfrm>
          <a:noFill/>
        </p:spPr>
        <p:txBody>
          <a:bodyPr tIns="91440" bIns="91440" anchor="t" anchorCtr="0"/>
          <a:lstStyle>
            <a:lvl1pPr>
              <a:defRPr lang="en-US" sz="5883" b="0" kern="1200" cap="none" spc="-74"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9764420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163560-FE18-3E43-8830-38B52C2B124E}"/>
              </a:ext>
            </a:extLst>
          </p:cNvPr>
          <p:cNvSpPr/>
          <p:nvPr userDrawn="1"/>
        </p:nvSpPr>
        <p:spPr>
          <a:xfrm>
            <a:off x="0" y="0"/>
            <a:ext cx="12192000" cy="1169043"/>
          </a:xfrm>
          <a:prstGeom prst="rect">
            <a:avLst/>
          </a:prstGeom>
          <a:solidFill>
            <a:srgbClr val="30A49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9">
            <a:extLst>
              <a:ext uri="{FF2B5EF4-FFF2-40B4-BE49-F238E27FC236}">
                <a16:creationId xmlns:a16="http://schemas.microsoft.com/office/drawing/2014/main" id="{EC330AEF-037D-7C45-A2D1-1238CD7DFA4E}"/>
              </a:ext>
            </a:extLst>
          </p:cNvPr>
          <p:cNvSpPr>
            <a:spLocks noGrp="1"/>
          </p:cNvSpPr>
          <p:nvPr>
            <p:ph type="body" sz="quarter" idx="13"/>
          </p:nvPr>
        </p:nvSpPr>
        <p:spPr>
          <a:xfrm>
            <a:off x="838200" y="1666160"/>
            <a:ext cx="9309100" cy="4248150"/>
          </a:xfrm>
          <a:prstGeom prst="rect">
            <a:avLst/>
          </a:prstGeom>
        </p:spPr>
        <p:txBody>
          <a:bodyPr lIns="0" rIns="0"/>
          <a:lstStyle>
            <a:lvl1pPr>
              <a:defRPr sz="2200" b="0" i="0">
                <a:latin typeface="Arial" panose="020B0604020202020204" pitchFamily="34" charset="0"/>
                <a:cs typeface="Arial" panose="020B0604020202020204" pitchFamily="34" charset="0"/>
              </a:defRPr>
            </a:lvl1pPr>
            <a:lvl2pPr>
              <a:defRPr sz="2200" b="0" i="0">
                <a:latin typeface="Arial" panose="020B0604020202020204" pitchFamily="34" charset="0"/>
                <a:cs typeface="Arial" panose="020B0604020202020204" pitchFamily="34" charset="0"/>
              </a:defRPr>
            </a:lvl2pPr>
            <a:lvl3pPr>
              <a:defRPr b="0" i="0">
                <a:latin typeface="Arial" panose="020B0604020202020204" pitchFamily="34" charset="0"/>
                <a:cs typeface="Arial" panose="020B0604020202020204" pitchFamily="34" charset="0"/>
              </a:defRPr>
            </a:lvl3pPr>
            <a:lvl4pPr>
              <a:defRPr b="0" i="0">
                <a:latin typeface="Arial" panose="020B0604020202020204" pitchFamily="34" charset="0"/>
                <a:cs typeface="Arial" panose="020B0604020202020204" pitchFamily="34" charset="0"/>
              </a:defRPr>
            </a:lvl4pPr>
            <a:lvl5pPr>
              <a:defRPr b="0" i="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5EDBEDED-6B7B-2741-B72F-7C44EFA28EE4}"/>
              </a:ext>
            </a:extLst>
          </p:cNvPr>
          <p:cNvSpPr>
            <a:spLocks noGrp="1"/>
          </p:cNvSpPr>
          <p:nvPr>
            <p:ph type="body" sz="quarter" idx="14" hasCustomPrompt="1"/>
          </p:nvPr>
        </p:nvSpPr>
        <p:spPr>
          <a:xfrm>
            <a:off x="838200" y="29496"/>
            <a:ext cx="10061575" cy="1139547"/>
          </a:xfrm>
          <a:prstGeom prst="rect">
            <a:avLst/>
          </a:prstGeom>
        </p:spPr>
        <p:txBody>
          <a:bodyPr lIns="0" rIns="0" anchor="ctr"/>
          <a:lstStyle>
            <a:lvl1pPr marL="0" indent="0">
              <a:buFontTx/>
              <a:buNone/>
              <a:defRPr sz="3600" b="1" i="0">
                <a:solidFill>
                  <a:schemeClr val="bg1"/>
                </a:solidFill>
                <a:latin typeface="Arial" panose="020B0604020202020204" pitchFamily="34" charset="0"/>
                <a:cs typeface="Arial" panose="020B0604020202020204" pitchFamily="34" charset="0"/>
              </a:defRPr>
            </a:lvl1pPr>
            <a:lvl2pPr marL="457200" indent="0">
              <a:buFontTx/>
              <a:buNone/>
              <a:defRPr sz="3600" b="1" i="0">
                <a:solidFill>
                  <a:schemeClr val="bg1"/>
                </a:solidFill>
                <a:latin typeface="Arial" panose="020B0604020202020204" pitchFamily="34" charset="0"/>
                <a:cs typeface="Arial" panose="020B0604020202020204" pitchFamily="34" charset="0"/>
              </a:defRPr>
            </a:lvl2pPr>
            <a:lvl3pPr marL="914400" indent="0">
              <a:buFontTx/>
              <a:buNone/>
              <a:defRPr sz="3600" b="1" i="0">
                <a:solidFill>
                  <a:schemeClr val="bg1"/>
                </a:solidFill>
                <a:latin typeface="Arial" panose="020B0604020202020204" pitchFamily="34" charset="0"/>
                <a:cs typeface="Arial" panose="020B0604020202020204" pitchFamily="34" charset="0"/>
              </a:defRPr>
            </a:lvl3pPr>
            <a:lvl4pPr marL="1371600" indent="0">
              <a:buFontTx/>
              <a:buNone/>
              <a:defRPr sz="3600" b="1" i="0">
                <a:solidFill>
                  <a:schemeClr val="bg1"/>
                </a:solidFill>
                <a:latin typeface="Arial" panose="020B0604020202020204" pitchFamily="34" charset="0"/>
                <a:cs typeface="Arial" panose="020B0604020202020204" pitchFamily="34" charset="0"/>
              </a:defRPr>
            </a:lvl4pPr>
            <a:lvl5pPr marL="1828800" indent="0">
              <a:buFontTx/>
              <a:buNone/>
              <a:defRPr sz="3600" b="1" i="0">
                <a:solidFill>
                  <a:schemeClr val="bg1"/>
                </a:solidFill>
                <a:latin typeface="Arial" panose="020B0604020202020204" pitchFamily="34" charset="0"/>
                <a:cs typeface="Arial" panose="020B0604020202020204" pitchFamily="34" charset="0"/>
              </a:defRPr>
            </a:lvl5pPr>
          </a:lstStyle>
          <a:p>
            <a:pPr lvl="0"/>
            <a:r>
              <a:rPr lang="en-US"/>
              <a:t>Click to edit Master title style</a:t>
            </a:r>
          </a:p>
        </p:txBody>
      </p:sp>
    </p:spTree>
    <p:extLst>
      <p:ext uri="{BB962C8B-B14F-4D97-AF65-F5344CB8AC3E}">
        <p14:creationId xmlns:p14="http://schemas.microsoft.com/office/powerpoint/2010/main" val="15803493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663397"/>
            <a:ext cx="5181600" cy="4351338"/>
          </a:xfrm>
          <a:prstGeom prst="rect">
            <a:avLst/>
          </a:prstGeom>
        </p:spPr>
        <p:txBody>
          <a:bodyPr lIns="0" rIns="0"/>
          <a:lstStyle>
            <a:lvl1pPr>
              <a:defRPr sz="2200">
                <a:latin typeface="Arial" panose="020B0604020202020204" pitchFamily="34" charset="0"/>
                <a:cs typeface="Arial" panose="020B0604020202020204" pitchFamily="34" charset="0"/>
              </a:defRPr>
            </a:lvl1pPr>
            <a:lvl2pPr>
              <a:defRPr sz="22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663397"/>
            <a:ext cx="5181600" cy="4351338"/>
          </a:xfrm>
          <a:prstGeom prst="rect">
            <a:avLst/>
          </a:prstGeom>
        </p:spPr>
        <p:txBody>
          <a:bodyPr lIns="0" rIns="0"/>
          <a:lstStyle>
            <a:lvl1pPr>
              <a:defRPr sz="2200">
                <a:latin typeface="Arial" panose="020B0604020202020204" pitchFamily="34" charset="0"/>
                <a:cs typeface="Arial" panose="020B0604020202020204" pitchFamily="34" charset="0"/>
              </a:defRPr>
            </a:lvl1pPr>
            <a:lvl2pPr>
              <a:defRPr sz="22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2707F21A-BDD9-3A49-BEA1-C63D963835C2}"/>
              </a:ext>
            </a:extLst>
          </p:cNvPr>
          <p:cNvSpPr/>
          <p:nvPr userDrawn="1"/>
        </p:nvSpPr>
        <p:spPr>
          <a:xfrm>
            <a:off x="0" y="0"/>
            <a:ext cx="12192000" cy="1169043"/>
          </a:xfrm>
          <a:prstGeom prst="rect">
            <a:avLst/>
          </a:prstGeom>
          <a:solidFill>
            <a:srgbClr val="30A49B">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1">
            <a:extLst>
              <a:ext uri="{FF2B5EF4-FFF2-40B4-BE49-F238E27FC236}">
                <a16:creationId xmlns:a16="http://schemas.microsoft.com/office/drawing/2014/main" id="{70FD121A-20E7-3E40-A9ED-D802DF37D6B9}"/>
              </a:ext>
            </a:extLst>
          </p:cNvPr>
          <p:cNvSpPr>
            <a:spLocks noGrp="1"/>
          </p:cNvSpPr>
          <p:nvPr>
            <p:ph type="title"/>
          </p:nvPr>
        </p:nvSpPr>
        <p:spPr>
          <a:xfrm>
            <a:off x="838200" y="14748"/>
            <a:ext cx="10515600" cy="1169044"/>
          </a:xfrm>
          <a:prstGeom prst="rect">
            <a:avLst/>
          </a:prstGeom>
        </p:spPr>
        <p:txBody>
          <a:bodyPr lIns="0" rIns="0" anchor="ctr"/>
          <a:lstStyle>
            <a:lvl1pPr>
              <a:defRPr sz="36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428380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p:txBody>
          <a:bodyPr lIns="0" rIns="0"/>
          <a:lstStyle/>
          <a:p>
            <a:fld id="{663784D1-9C9B-4DBA-8D0C-1E6EAD2F84DB}" type="datetime1">
              <a:rPr lang="en-US" smtClean="0"/>
              <a:t>4/17/2020</a:t>
            </a:fld>
            <a:endParaRPr lang="en-US"/>
          </a:p>
        </p:txBody>
      </p:sp>
      <p:sp>
        <p:nvSpPr>
          <p:cNvPr id="7" name="Footer Placeholder 6"/>
          <p:cNvSpPr>
            <a:spLocks noGrp="1"/>
          </p:cNvSpPr>
          <p:nvPr>
            <p:ph type="ftr" sz="quarter" idx="11"/>
          </p:nvPr>
        </p:nvSpPr>
        <p:spPr/>
        <p:txBody>
          <a:bodyPr lIns="0" rIns="0"/>
          <a:lstStyle/>
          <a:p>
            <a:r>
              <a:rPr lang="en-US"/>
              <a:t>microsoft.com/education</a:t>
            </a:r>
            <a:endParaRPr lang="en-US" dirty="0"/>
          </a:p>
        </p:txBody>
      </p:sp>
      <p:sp>
        <p:nvSpPr>
          <p:cNvPr id="8" name="Slide Number Placeholder 7"/>
          <p:cNvSpPr>
            <a:spLocks noGrp="1"/>
          </p:cNvSpPr>
          <p:nvPr>
            <p:ph type="sldNum" sz="quarter" idx="12"/>
          </p:nvPr>
        </p:nvSpPr>
        <p:spPr/>
        <p:txBody>
          <a:bodyPr lIns="0" rIns="0"/>
          <a:lstStyle/>
          <a:p>
            <a:fld id="{9373C030-8119-439B-A7A2-330B51F4C009}" type="slidenum">
              <a:rPr lang="en-US" smtClean="0"/>
              <a:pPr/>
              <a:t>‹#›</a:t>
            </a:fld>
            <a:endParaRPr lang="en-US"/>
          </a:p>
        </p:txBody>
      </p:sp>
      <p:sp>
        <p:nvSpPr>
          <p:cNvPr id="12" name="Content Placeholder 11"/>
          <p:cNvSpPr>
            <a:spLocks noGrp="1"/>
          </p:cNvSpPr>
          <p:nvPr>
            <p:ph sz="quarter" idx="13"/>
          </p:nvPr>
        </p:nvSpPr>
        <p:spPr>
          <a:xfrm>
            <a:off x="381292" y="1561184"/>
            <a:ext cx="11429416" cy="493103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95778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6" name="Date Placeholder 5"/>
          <p:cNvSpPr>
            <a:spLocks noGrp="1"/>
          </p:cNvSpPr>
          <p:nvPr>
            <p:ph type="dt" sz="half" idx="10"/>
          </p:nvPr>
        </p:nvSpPr>
        <p:spPr/>
        <p:txBody>
          <a:bodyPr lIns="0" rIns="0"/>
          <a:lstStyle/>
          <a:p>
            <a:fld id="{663784D1-9C9B-4DBA-8D0C-1E6EAD2F84DB}" type="datetime1">
              <a:rPr lang="en-US" smtClean="0"/>
              <a:t>4/17/2020</a:t>
            </a:fld>
            <a:endParaRPr lang="en-US"/>
          </a:p>
        </p:txBody>
      </p:sp>
      <p:sp>
        <p:nvSpPr>
          <p:cNvPr id="7" name="Footer Placeholder 6"/>
          <p:cNvSpPr>
            <a:spLocks noGrp="1"/>
          </p:cNvSpPr>
          <p:nvPr>
            <p:ph type="ftr" sz="quarter" idx="11"/>
          </p:nvPr>
        </p:nvSpPr>
        <p:spPr/>
        <p:txBody>
          <a:bodyPr lIns="0" rIns="0"/>
          <a:lstStyle/>
          <a:p>
            <a:r>
              <a:rPr lang="en-US"/>
              <a:t>microsoft.com/education</a:t>
            </a:r>
            <a:endParaRPr lang="en-US" dirty="0"/>
          </a:p>
        </p:txBody>
      </p:sp>
      <p:sp>
        <p:nvSpPr>
          <p:cNvPr id="8" name="Slide Number Placeholder 7"/>
          <p:cNvSpPr>
            <a:spLocks noGrp="1"/>
          </p:cNvSpPr>
          <p:nvPr>
            <p:ph type="sldNum" sz="quarter" idx="12"/>
          </p:nvPr>
        </p:nvSpPr>
        <p:spPr/>
        <p:txBody>
          <a:bodyPr lIns="0" rIns="0"/>
          <a:lstStyle/>
          <a:p>
            <a:fld id="{9373C030-8119-439B-A7A2-330B51F4C009}" type="slidenum">
              <a:rPr lang="en-US" smtClean="0"/>
              <a:pPr/>
              <a:t>‹#›</a:t>
            </a:fld>
            <a:endParaRPr lang="en-US"/>
          </a:p>
        </p:txBody>
      </p:sp>
      <p:sp>
        <p:nvSpPr>
          <p:cNvPr id="12" name="Content Placeholder 11"/>
          <p:cNvSpPr>
            <a:spLocks noGrp="1"/>
          </p:cNvSpPr>
          <p:nvPr>
            <p:ph sz="quarter" idx="13"/>
          </p:nvPr>
        </p:nvSpPr>
        <p:spPr>
          <a:xfrm>
            <a:off x="381292" y="1561184"/>
            <a:ext cx="11429416" cy="493103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4"/>
          </p:nvPr>
        </p:nvSpPr>
        <p:spPr>
          <a:xfrm>
            <a:off x="381293" y="838962"/>
            <a:ext cx="3007457" cy="452654"/>
          </a:xfrm>
        </p:spPr>
        <p:txBody>
          <a:bodyPr wrap="none">
            <a:spAutoFit/>
          </a:bodyPr>
          <a:lstStyle>
            <a:lvl1pPr>
              <a:defRPr sz="2353">
                <a:gradFill>
                  <a:gsLst>
                    <a:gs pos="2917">
                      <a:schemeClr val="tx1">
                        <a:lumMod val="75000"/>
                      </a:schemeClr>
                    </a:gs>
                    <a:gs pos="100000">
                      <a:schemeClr val="tx1">
                        <a:lumMod val="75000"/>
                      </a:schemeClr>
                    </a:gs>
                  </a:gsLst>
                  <a:lin ang="5400000" scaled="0"/>
                </a:gradFill>
              </a:defRPr>
            </a:lvl1pPr>
          </a:lstStyle>
          <a:p>
            <a:pPr lvl="0"/>
            <a:r>
              <a:rPr lang="en-US" dirty="0"/>
              <a:t>Edit Master text styles</a:t>
            </a:r>
          </a:p>
        </p:txBody>
      </p:sp>
    </p:spTree>
    <p:extLst>
      <p:ext uri="{BB962C8B-B14F-4D97-AF65-F5344CB8AC3E}">
        <p14:creationId xmlns:p14="http://schemas.microsoft.com/office/powerpoint/2010/main" val="323911065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50/50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6" name="Date Placeholder 5"/>
          <p:cNvSpPr>
            <a:spLocks noGrp="1"/>
          </p:cNvSpPr>
          <p:nvPr>
            <p:ph type="dt" sz="half" idx="10"/>
          </p:nvPr>
        </p:nvSpPr>
        <p:spPr/>
        <p:txBody>
          <a:bodyPr lIns="0" rIns="0"/>
          <a:lstStyle/>
          <a:p>
            <a:fld id="{663784D1-9C9B-4DBA-8D0C-1E6EAD2F84DB}" type="datetime1">
              <a:rPr lang="en-US" smtClean="0"/>
              <a:t>4/17/2020</a:t>
            </a:fld>
            <a:endParaRPr lang="en-US"/>
          </a:p>
        </p:txBody>
      </p:sp>
      <p:sp>
        <p:nvSpPr>
          <p:cNvPr id="7" name="Footer Placeholder 6"/>
          <p:cNvSpPr>
            <a:spLocks noGrp="1"/>
          </p:cNvSpPr>
          <p:nvPr>
            <p:ph type="ftr" sz="quarter" idx="11"/>
          </p:nvPr>
        </p:nvSpPr>
        <p:spPr/>
        <p:txBody>
          <a:bodyPr lIns="0" rIns="0"/>
          <a:lstStyle/>
          <a:p>
            <a:r>
              <a:rPr lang="en-US"/>
              <a:t>microsoft.com/education</a:t>
            </a:r>
            <a:endParaRPr lang="en-US" dirty="0"/>
          </a:p>
        </p:txBody>
      </p:sp>
      <p:sp>
        <p:nvSpPr>
          <p:cNvPr id="8" name="Slide Number Placeholder 7"/>
          <p:cNvSpPr>
            <a:spLocks noGrp="1"/>
          </p:cNvSpPr>
          <p:nvPr>
            <p:ph type="sldNum" sz="quarter" idx="12"/>
          </p:nvPr>
        </p:nvSpPr>
        <p:spPr/>
        <p:txBody>
          <a:bodyPr lIns="0" rIns="0"/>
          <a:lstStyle/>
          <a:p>
            <a:fld id="{9373C030-8119-439B-A7A2-330B51F4C009}" type="slidenum">
              <a:rPr lang="en-US" smtClean="0"/>
              <a:pPr/>
              <a:t>‹#›</a:t>
            </a:fld>
            <a:endParaRPr lang="en-US"/>
          </a:p>
        </p:txBody>
      </p:sp>
      <p:sp>
        <p:nvSpPr>
          <p:cNvPr id="12" name="Content Placeholder 11"/>
          <p:cNvSpPr>
            <a:spLocks noGrp="1"/>
          </p:cNvSpPr>
          <p:nvPr>
            <p:ph sz="quarter" idx="13"/>
          </p:nvPr>
        </p:nvSpPr>
        <p:spPr>
          <a:xfrm>
            <a:off x="381293" y="1561184"/>
            <a:ext cx="5576653" cy="493103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4"/>
          </p:nvPr>
        </p:nvSpPr>
        <p:spPr>
          <a:xfrm>
            <a:off x="381293" y="838962"/>
            <a:ext cx="3007457" cy="452654"/>
          </a:xfrm>
        </p:spPr>
        <p:txBody>
          <a:bodyPr wrap="none">
            <a:spAutoFit/>
          </a:bodyPr>
          <a:lstStyle>
            <a:lvl1pPr>
              <a:defRPr sz="2353">
                <a:gradFill>
                  <a:gsLst>
                    <a:gs pos="2917">
                      <a:schemeClr val="tx1">
                        <a:lumMod val="75000"/>
                      </a:schemeClr>
                    </a:gs>
                    <a:gs pos="100000">
                      <a:schemeClr val="tx1">
                        <a:lumMod val="75000"/>
                      </a:schemeClr>
                    </a:gs>
                  </a:gsLst>
                  <a:lin ang="5400000" scaled="0"/>
                </a:gradFill>
              </a:defRPr>
            </a:lvl1pPr>
          </a:lstStyle>
          <a:p>
            <a:pPr lvl="0"/>
            <a:r>
              <a:rPr lang="en-US" dirty="0"/>
              <a:t>Edit Master text styles</a:t>
            </a:r>
          </a:p>
        </p:txBody>
      </p:sp>
      <p:sp>
        <p:nvSpPr>
          <p:cNvPr id="9" name="Content Placeholder 11"/>
          <p:cNvSpPr>
            <a:spLocks noGrp="1"/>
          </p:cNvSpPr>
          <p:nvPr>
            <p:ph sz="quarter" idx="15"/>
          </p:nvPr>
        </p:nvSpPr>
        <p:spPr>
          <a:xfrm>
            <a:off x="6231102" y="1561184"/>
            <a:ext cx="5576653" cy="493103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577249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Pillars and Imag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6" name="Date Placeholder 5"/>
          <p:cNvSpPr>
            <a:spLocks noGrp="1"/>
          </p:cNvSpPr>
          <p:nvPr>
            <p:ph type="dt" sz="half" idx="10"/>
          </p:nvPr>
        </p:nvSpPr>
        <p:spPr/>
        <p:txBody>
          <a:bodyPr lIns="0" rIns="0"/>
          <a:lstStyle/>
          <a:p>
            <a:fld id="{663784D1-9C9B-4DBA-8D0C-1E6EAD2F84DB}" type="datetime1">
              <a:rPr lang="en-US" smtClean="0"/>
              <a:t>4/17/2020</a:t>
            </a:fld>
            <a:endParaRPr lang="en-US"/>
          </a:p>
        </p:txBody>
      </p:sp>
      <p:sp>
        <p:nvSpPr>
          <p:cNvPr id="7" name="Footer Placeholder 6"/>
          <p:cNvSpPr>
            <a:spLocks noGrp="1"/>
          </p:cNvSpPr>
          <p:nvPr>
            <p:ph type="ftr" sz="quarter" idx="11"/>
          </p:nvPr>
        </p:nvSpPr>
        <p:spPr/>
        <p:txBody>
          <a:bodyPr lIns="0" rIns="0"/>
          <a:lstStyle/>
          <a:p>
            <a:r>
              <a:rPr lang="en-US"/>
              <a:t>microsoft.com/education</a:t>
            </a:r>
            <a:endParaRPr lang="en-US" dirty="0"/>
          </a:p>
        </p:txBody>
      </p:sp>
      <p:sp>
        <p:nvSpPr>
          <p:cNvPr id="8" name="Slide Number Placeholder 7"/>
          <p:cNvSpPr>
            <a:spLocks noGrp="1"/>
          </p:cNvSpPr>
          <p:nvPr>
            <p:ph type="sldNum" sz="quarter" idx="12"/>
          </p:nvPr>
        </p:nvSpPr>
        <p:spPr/>
        <p:txBody>
          <a:bodyPr lIns="0" rIns="0"/>
          <a:lstStyle/>
          <a:p>
            <a:fld id="{9373C030-8119-439B-A7A2-330B51F4C009}" type="slidenum">
              <a:rPr lang="en-US" smtClean="0"/>
              <a:pPr/>
              <a:t>‹#›</a:t>
            </a:fld>
            <a:endParaRPr lang="en-US"/>
          </a:p>
        </p:txBody>
      </p:sp>
      <p:sp>
        <p:nvSpPr>
          <p:cNvPr id="5" name="Text Placeholder 4"/>
          <p:cNvSpPr>
            <a:spLocks noGrp="1"/>
          </p:cNvSpPr>
          <p:nvPr>
            <p:ph type="body" sz="quarter" idx="18"/>
          </p:nvPr>
        </p:nvSpPr>
        <p:spPr>
          <a:xfrm>
            <a:off x="381293" y="2851534"/>
            <a:ext cx="2689274" cy="3640687"/>
          </a:xfrm>
        </p:spPr>
        <p:txBody>
          <a:bodyPr/>
          <a:lstStyle>
            <a:lvl1pPr>
              <a:defRPr sz="1568"/>
            </a:lvl1pPr>
            <a:lvl2pPr>
              <a:defRPr sz="1372"/>
            </a:lvl2pPr>
            <a:lvl3pPr>
              <a:defRPr sz="1372"/>
            </a:lvl3pPr>
            <a:lvl4pPr>
              <a:defRPr sz="1372"/>
            </a:lvl4pPr>
            <a:lvl5pPr>
              <a:defRPr sz="137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4"/>
          <p:cNvSpPr>
            <a:spLocks noGrp="1"/>
          </p:cNvSpPr>
          <p:nvPr>
            <p:ph type="body" sz="quarter" idx="19"/>
          </p:nvPr>
        </p:nvSpPr>
        <p:spPr>
          <a:xfrm>
            <a:off x="3294673" y="2851534"/>
            <a:ext cx="2689274" cy="3640687"/>
          </a:xfrm>
        </p:spPr>
        <p:txBody>
          <a:bodyPr/>
          <a:lstStyle>
            <a:lvl1pPr>
              <a:defRPr sz="1568"/>
            </a:lvl1pPr>
            <a:lvl2pPr>
              <a:defRPr sz="1372"/>
            </a:lvl2pPr>
            <a:lvl3pPr>
              <a:defRPr sz="1372"/>
            </a:lvl3pPr>
            <a:lvl4pPr>
              <a:defRPr sz="1372"/>
            </a:lvl4pPr>
            <a:lvl5pPr>
              <a:defRPr sz="137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4"/>
          <p:cNvSpPr>
            <a:spLocks noGrp="1"/>
          </p:cNvSpPr>
          <p:nvPr>
            <p:ph type="body" sz="quarter" idx="20"/>
          </p:nvPr>
        </p:nvSpPr>
        <p:spPr>
          <a:xfrm>
            <a:off x="6208054" y="2851534"/>
            <a:ext cx="2689274" cy="3640687"/>
          </a:xfrm>
        </p:spPr>
        <p:txBody>
          <a:bodyPr/>
          <a:lstStyle>
            <a:lvl1pPr>
              <a:defRPr sz="1568"/>
            </a:lvl1pPr>
            <a:lvl2pPr>
              <a:defRPr sz="1372"/>
            </a:lvl2pPr>
            <a:lvl3pPr>
              <a:defRPr sz="1372"/>
            </a:lvl3pPr>
            <a:lvl4pPr>
              <a:defRPr sz="1372"/>
            </a:lvl4pPr>
            <a:lvl5pPr>
              <a:defRPr sz="137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4"/>
          <p:cNvSpPr>
            <a:spLocks noGrp="1"/>
          </p:cNvSpPr>
          <p:nvPr>
            <p:ph type="body" sz="quarter" idx="21"/>
          </p:nvPr>
        </p:nvSpPr>
        <p:spPr>
          <a:xfrm>
            <a:off x="9121434" y="2851534"/>
            <a:ext cx="2689274" cy="3640687"/>
          </a:xfrm>
        </p:spPr>
        <p:txBody>
          <a:bodyPr/>
          <a:lstStyle>
            <a:lvl1pPr>
              <a:defRPr sz="1568"/>
            </a:lvl1pPr>
            <a:lvl2pPr>
              <a:defRPr sz="1372"/>
            </a:lvl2pPr>
            <a:lvl3pPr>
              <a:defRPr sz="1372"/>
            </a:lvl3pPr>
            <a:lvl4pPr>
              <a:defRPr sz="1372"/>
            </a:lvl4pPr>
            <a:lvl5pPr>
              <a:defRPr sz="137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Picture Placeholder 8"/>
          <p:cNvSpPr>
            <a:spLocks noGrp="1" noChangeAspect="1"/>
          </p:cNvSpPr>
          <p:nvPr>
            <p:ph type="pic" sz="quarter" idx="14" hasCustomPrompt="1"/>
          </p:nvPr>
        </p:nvSpPr>
        <p:spPr>
          <a:xfrm>
            <a:off x="381293" y="1212687"/>
            <a:ext cx="2689274" cy="1511000"/>
          </a:xfrm>
          <a:noFill/>
        </p:spPr>
        <p:txBody>
          <a:bodyPr lIns="274320" tIns="0" rIns="274320" bIns="182880" anchor="b"/>
          <a:lstStyle>
            <a:lvl1pPr algn="ctr">
              <a:spcAft>
                <a:spcPts val="1765"/>
              </a:spcAft>
              <a:defRPr sz="980" baseline="0">
                <a:solidFill>
                  <a:srgbClr val="C00000"/>
                </a:solidFill>
              </a:defRPr>
            </a:lvl1pPr>
          </a:lstStyle>
          <a:p>
            <a:r>
              <a:rPr lang="en-US" dirty="0"/>
              <a:t>Paste Image Here. To remove crop: Picture Tools &gt; Crop drop menu &gt; Fit</a:t>
            </a:r>
          </a:p>
        </p:txBody>
      </p:sp>
      <p:sp>
        <p:nvSpPr>
          <p:cNvPr id="26" name="Picture Placeholder 8"/>
          <p:cNvSpPr>
            <a:spLocks noGrp="1" noChangeAspect="1"/>
          </p:cNvSpPr>
          <p:nvPr>
            <p:ph type="pic" sz="quarter" idx="22" hasCustomPrompt="1"/>
          </p:nvPr>
        </p:nvSpPr>
        <p:spPr>
          <a:xfrm>
            <a:off x="3294673" y="1212687"/>
            <a:ext cx="2689274" cy="1511000"/>
          </a:xfrm>
          <a:noFill/>
        </p:spPr>
        <p:txBody>
          <a:bodyPr lIns="274320" tIns="0" rIns="274320" bIns="182880" anchor="b"/>
          <a:lstStyle>
            <a:lvl1pPr algn="ctr">
              <a:spcAft>
                <a:spcPts val="1765"/>
              </a:spcAft>
              <a:defRPr sz="980" baseline="0">
                <a:solidFill>
                  <a:srgbClr val="C00000"/>
                </a:solidFill>
              </a:defRPr>
            </a:lvl1pPr>
          </a:lstStyle>
          <a:p>
            <a:r>
              <a:rPr lang="en-US" dirty="0"/>
              <a:t>Paste Image Here. To remove crop: Picture Tools &gt; Crop drop menu &gt; Fit</a:t>
            </a:r>
          </a:p>
        </p:txBody>
      </p:sp>
      <p:sp>
        <p:nvSpPr>
          <p:cNvPr id="27" name="Picture Placeholder 8"/>
          <p:cNvSpPr>
            <a:spLocks noGrp="1" noChangeAspect="1"/>
          </p:cNvSpPr>
          <p:nvPr>
            <p:ph type="pic" sz="quarter" idx="23" hasCustomPrompt="1"/>
          </p:nvPr>
        </p:nvSpPr>
        <p:spPr>
          <a:xfrm>
            <a:off x="6208054" y="1212687"/>
            <a:ext cx="2689274" cy="1511000"/>
          </a:xfrm>
          <a:noFill/>
        </p:spPr>
        <p:txBody>
          <a:bodyPr lIns="274320" tIns="0" rIns="274320" bIns="182880" anchor="b"/>
          <a:lstStyle>
            <a:lvl1pPr algn="ctr">
              <a:spcAft>
                <a:spcPts val="1765"/>
              </a:spcAft>
              <a:defRPr sz="980" baseline="0">
                <a:solidFill>
                  <a:srgbClr val="C00000"/>
                </a:solidFill>
              </a:defRPr>
            </a:lvl1pPr>
          </a:lstStyle>
          <a:p>
            <a:r>
              <a:rPr lang="en-US" dirty="0"/>
              <a:t>Paste Image Here. To remove crop: Picture Tools &gt; Crop drop menu &gt; Fit</a:t>
            </a:r>
          </a:p>
        </p:txBody>
      </p:sp>
      <p:sp>
        <p:nvSpPr>
          <p:cNvPr id="28" name="Picture Placeholder 8"/>
          <p:cNvSpPr>
            <a:spLocks noGrp="1" noChangeAspect="1"/>
          </p:cNvSpPr>
          <p:nvPr>
            <p:ph type="pic" sz="quarter" idx="24" hasCustomPrompt="1"/>
          </p:nvPr>
        </p:nvSpPr>
        <p:spPr>
          <a:xfrm>
            <a:off x="9121434" y="1212687"/>
            <a:ext cx="2689274" cy="1511000"/>
          </a:xfrm>
          <a:noFill/>
        </p:spPr>
        <p:txBody>
          <a:bodyPr lIns="274320" tIns="0" rIns="274320" bIns="182880" anchor="b"/>
          <a:lstStyle>
            <a:lvl1pPr algn="ctr">
              <a:spcAft>
                <a:spcPts val="1765"/>
              </a:spcAft>
              <a:defRPr sz="980" baseline="0">
                <a:solidFill>
                  <a:srgbClr val="C00000"/>
                </a:solidFill>
              </a:defRPr>
            </a:lvl1pPr>
          </a:lstStyle>
          <a:p>
            <a:r>
              <a:rPr lang="en-US" dirty="0"/>
              <a:t>Paste Image Here. To remove crop: Picture Tools &gt; Crop drop menu &gt; Fit</a:t>
            </a:r>
          </a:p>
        </p:txBody>
      </p:sp>
    </p:spTree>
    <p:extLst>
      <p:ext uri="{BB962C8B-B14F-4D97-AF65-F5344CB8AC3E}">
        <p14:creationId xmlns:p14="http://schemas.microsoft.com/office/powerpoint/2010/main" val="352533072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sktop Screen Capture 16:9">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381292" y="1561184"/>
            <a:ext cx="7642803" cy="4931036"/>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9DE2E20-C700-4A3A-A890-B84EE414F382}" type="datetime1">
              <a:rPr lang="en-US" smtClean="0"/>
              <a:t>4/17/2020</a:t>
            </a:fld>
            <a:endParaRPr lang="en-US"/>
          </a:p>
        </p:txBody>
      </p:sp>
      <p:sp>
        <p:nvSpPr>
          <p:cNvPr id="4" name="Footer Placeholder 3"/>
          <p:cNvSpPr>
            <a:spLocks noGrp="1"/>
          </p:cNvSpPr>
          <p:nvPr>
            <p:ph type="ftr" sz="quarter" idx="11"/>
          </p:nvPr>
        </p:nvSpPr>
        <p:spPr/>
        <p:txBody>
          <a:bodyPr/>
          <a:lstStyle/>
          <a:p>
            <a:r>
              <a:rPr lang="en-US"/>
              <a:t>microsoft.com/education</a:t>
            </a:r>
            <a:endParaRPr lang="en-US" dirty="0"/>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6" name="Content Placeholder 11"/>
          <p:cNvSpPr>
            <a:spLocks noGrp="1"/>
          </p:cNvSpPr>
          <p:nvPr>
            <p:ph sz="quarter" idx="13"/>
          </p:nvPr>
        </p:nvSpPr>
        <p:spPr>
          <a:xfrm>
            <a:off x="8187659" y="1561184"/>
            <a:ext cx="3623049" cy="4931036"/>
          </a:xfrm>
        </p:spPr>
        <p:txBody>
          <a:bodyPr/>
          <a:lstStyle>
            <a:lvl1pPr>
              <a:spcBef>
                <a:spcPts val="1176"/>
              </a:spcBef>
              <a:defRPr sz="1568"/>
            </a:lvl1pPr>
            <a:lvl2pPr>
              <a:defRPr sz="1372"/>
            </a:lvl2pPr>
            <a:lvl3pPr>
              <a:defRPr sz="1372"/>
            </a:lvl3pPr>
            <a:lvl4pPr>
              <a:defRPr sz="1372"/>
            </a:lvl4pPr>
            <a:lvl5pPr>
              <a:defRPr sz="137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p:cNvSpPr>
            <a:spLocks noGrp="1" noChangeAspect="1"/>
          </p:cNvSpPr>
          <p:nvPr>
            <p:ph type="pic" sz="quarter" idx="14" hasCustomPrompt="1"/>
          </p:nvPr>
        </p:nvSpPr>
        <p:spPr>
          <a:xfrm>
            <a:off x="548543" y="1735676"/>
            <a:ext cx="6140181" cy="3449932"/>
          </a:xfrm>
          <a:solidFill>
            <a:srgbClr val="00172A"/>
          </a:solidFill>
        </p:spPr>
        <p:txBody>
          <a:bodyPr tIns="0" rIns="0" bIns="1097280" anchor="b"/>
          <a:lstStyle>
            <a:lvl1pPr algn="ctr">
              <a:defRPr sz="1765" baseline="0">
                <a:solidFill>
                  <a:srgbClr val="C00000"/>
                </a:solidFill>
              </a:defRPr>
            </a:lvl1pPr>
          </a:lstStyle>
          <a:p>
            <a:r>
              <a:rPr lang="en-US" dirty="0"/>
              <a:t>Paste full screen grab here (16:9 aspect ratio)</a:t>
            </a:r>
          </a:p>
        </p:txBody>
      </p:sp>
      <p:sp>
        <p:nvSpPr>
          <p:cNvPr id="10" name="Text Placeholder 2"/>
          <p:cNvSpPr>
            <a:spLocks noGrp="1"/>
          </p:cNvSpPr>
          <p:nvPr>
            <p:ph type="body" sz="quarter" idx="15"/>
          </p:nvPr>
        </p:nvSpPr>
        <p:spPr>
          <a:xfrm>
            <a:off x="381293" y="838962"/>
            <a:ext cx="3007457" cy="452654"/>
          </a:xfrm>
        </p:spPr>
        <p:txBody>
          <a:bodyPr wrap="none">
            <a:spAutoFit/>
          </a:bodyPr>
          <a:lstStyle>
            <a:lvl1pPr>
              <a:defRPr sz="2353">
                <a:gradFill>
                  <a:gsLst>
                    <a:gs pos="2917">
                      <a:schemeClr val="tx1">
                        <a:lumMod val="75000"/>
                      </a:schemeClr>
                    </a:gs>
                    <a:gs pos="100000">
                      <a:schemeClr val="tx1">
                        <a:lumMod val="75000"/>
                      </a:schemeClr>
                    </a:gs>
                  </a:gsLst>
                  <a:lin ang="5400000" scaled="0"/>
                </a:gradFill>
              </a:defRPr>
            </a:lvl1pPr>
          </a:lstStyle>
          <a:p>
            <a:pPr lvl="0"/>
            <a:r>
              <a:rPr lang="en-US" dirty="0"/>
              <a:t>Edit Master text styles</a:t>
            </a:r>
          </a:p>
        </p:txBody>
      </p:sp>
    </p:spTree>
    <p:extLst>
      <p:ext uri="{BB962C8B-B14F-4D97-AF65-F5344CB8AC3E}">
        <p14:creationId xmlns:p14="http://schemas.microsoft.com/office/powerpoint/2010/main" val="157108954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in1 Screen Capture 16:9">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1" y="1561185"/>
            <a:ext cx="7087807" cy="5020744"/>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9DE2E20-C700-4A3A-A890-B84EE414F382}" type="datetime1">
              <a:rPr lang="en-US" smtClean="0"/>
              <a:t>4/17/2020</a:t>
            </a:fld>
            <a:endParaRPr lang="en-US"/>
          </a:p>
        </p:txBody>
      </p:sp>
      <p:sp>
        <p:nvSpPr>
          <p:cNvPr id="4" name="Footer Placeholder 3"/>
          <p:cNvSpPr>
            <a:spLocks noGrp="1"/>
          </p:cNvSpPr>
          <p:nvPr>
            <p:ph type="ftr" sz="quarter" idx="11"/>
          </p:nvPr>
        </p:nvSpPr>
        <p:spPr/>
        <p:txBody>
          <a:bodyPr/>
          <a:lstStyle/>
          <a:p>
            <a:r>
              <a:rPr lang="en-US"/>
              <a:t>microsoft.com/education</a:t>
            </a:r>
            <a:endParaRPr lang="en-US" dirty="0"/>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6" name="Content Placeholder 11"/>
          <p:cNvSpPr>
            <a:spLocks noGrp="1"/>
          </p:cNvSpPr>
          <p:nvPr>
            <p:ph sz="quarter" idx="13"/>
          </p:nvPr>
        </p:nvSpPr>
        <p:spPr>
          <a:xfrm>
            <a:off x="8187659" y="1561184"/>
            <a:ext cx="3623049" cy="4931036"/>
          </a:xfrm>
        </p:spPr>
        <p:txBody>
          <a:bodyPr/>
          <a:lstStyle>
            <a:lvl1pPr>
              <a:defRPr sz="1765"/>
            </a:lvl1pPr>
            <a:lvl2pPr>
              <a:defRPr sz="1568"/>
            </a:lvl2pPr>
            <a:lvl3pPr>
              <a:defRPr sz="1568"/>
            </a:lvl3pPr>
            <a:lvl4pPr>
              <a:defRPr sz="1568"/>
            </a:lvl4pPr>
            <a:lvl5pPr>
              <a:defRPr sz="1568"/>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8"/>
          <p:cNvSpPr>
            <a:spLocks noGrp="1" noChangeAspect="1"/>
          </p:cNvSpPr>
          <p:nvPr>
            <p:ph type="pic" sz="quarter" idx="14" hasCustomPrompt="1"/>
          </p:nvPr>
        </p:nvSpPr>
        <p:spPr>
          <a:xfrm>
            <a:off x="543323" y="1799216"/>
            <a:ext cx="5870161" cy="3298219"/>
          </a:xfrm>
          <a:solidFill>
            <a:srgbClr val="00172A"/>
          </a:solidFill>
        </p:spPr>
        <p:txBody>
          <a:bodyPr tIns="0" rIns="0" bIns="1097280" anchor="b"/>
          <a:lstStyle>
            <a:lvl1pPr algn="ctr">
              <a:defRPr sz="1765" baseline="0">
                <a:solidFill>
                  <a:srgbClr val="C00000"/>
                </a:solidFill>
              </a:defRPr>
            </a:lvl1pPr>
          </a:lstStyle>
          <a:p>
            <a:r>
              <a:rPr lang="en-US" dirty="0"/>
              <a:t>Paste full screen grab here (16:9 aspect ratio)</a:t>
            </a:r>
          </a:p>
        </p:txBody>
      </p:sp>
      <p:sp>
        <p:nvSpPr>
          <p:cNvPr id="10" name="Text Placeholder 2"/>
          <p:cNvSpPr>
            <a:spLocks noGrp="1"/>
          </p:cNvSpPr>
          <p:nvPr>
            <p:ph type="body" sz="quarter" idx="15"/>
          </p:nvPr>
        </p:nvSpPr>
        <p:spPr>
          <a:xfrm>
            <a:off x="381293" y="838962"/>
            <a:ext cx="3007457" cy="452654"/>
          </a:xfrm>
        </p:spPr>
        <p:txBody>
          <a:bodyPr wrap="none">
            <a:spAutoFit/>
          </a:bodyPr>
          <a:lstStyle>
            <a:lvl1pPr>
              <a:defRPr sz="2353">
                <a:gradFill>
                  <a:gsLst>
                    <a:gs pos="2917">
                      <a:schemeClr val="tx1">
                        <a:lumMod val="75000"/>
                      </a:schemeClr>
                    </a:gs>
                    <a:gs pos="100000">
                      <a:schemeClr val="tx1">
                        <a:lumMod val="75000"/>
                      </a:schemeClr>
                    </a:gs>
                  </a:gsLst>
                  <a:lin ang="5400000" scaled="0"/>
                </a:gradFill>
              </a:defRPr>
            </a:lvl1pPr>
          </a:lstStyle>
          <a:p>
            <a:pPr lvl="0"/>
            <a:r>
              <a:rPr lang="en-US" dirty="0"/>
              <a:t>Edit Master text styles</a:t>
            </a:r>
          </a:p>
        </p:txBody>
      </p:sp>
      <p:sp>
        <p:nvSpPr>
          <p:cNvPr id="11" name="Rectangle 10"/>
          <p:cNvSpPr/>
          <p:nvPr userDrawn="1"/>
        </p:nvSpPr>
        <p:spPr>
          <a:xfrm>
            <a:off x="6917412" y="4721841"/>
            <a:ext cx="231576" cy="1494253"/>
          </a:xfrm>
          <a:prstGeom prst="rect">
            <a:avLst/>
          </a:prstGeom>
          <a:gradFill flip="none" rotWithShape="1">
            <a:gsLst>
              <a:gs pos="2917">
                <a:schemeClr val="bg1">
                  <a:alpha val="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Tree>
    <p:extLst>
      <p:ext uri="{BB962C8B-B14F-4D97-AF65-F5344CB8AC3E}">
        <p14:creationId xmlns:p14="http://schemas.microsoft.com/office/powerpoint/2010/main" val="409182325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293" y="235035"/>
            <a:ext cx="11426462" cy="603538"/>
          </a:xfrm>
          <a:prstGeom prst="rect">
            <a:avLst/>
          </a:prstGeom>
        </p:spPr>
        <p:txBody>
          <a:bodyPr vert="horz" wrap="none" lIns="0" tIns="0" rIns="0" bIns="0" rtlCol="0" anchor="ctr">
            <a:noAutofit/>
          </a:bodyPr>
          <a:lstStyle/>
          <a:p>
            <a:r>
              <a:rPr lang="en-US" dirty="0"/>
              <a:t>Click to edit Master title style</a:t>
            </a:r>
          </a:p>
        </p:txBody>
      </p:sp>
      <p:sp>
        <p:nvSpPr>
          <p:cNvPr id="3" name="Text Placeholder 2"/>
          <p:cNvSpPr>
            <a:spLocks noGrp="1"/>
          </p:cNvSpPr>
          <p:nvPr>
            <p:ph type="body" idx="1"/>
          </p:nvPr>
        </p:nvSpPr>
        <p:spPr>
          <a:xfrm>
            <a:off x="381293" y="1544062"/>
            <a:ext cx="11426462" cy="4931036"/>
          </a:xfrm>
          <a:prstGeom prst="rect">
            <a:avLst/>
          </a:prstGeom>
        </p:spPr>
        <p:txBody>
          <a:bodyPr vert="horz" wrap="square" lIns="0" tIns="45720" rIns="0" bIns="45720" rtlCol="0" anchor="t">
            <a:noAutofit/>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7" name="Date Placeholder 6"/>
          <p:cNvSpPr>
            <a:spLocks noGrp="1"/>
          </p:cNvSpPr>
          <p:nvPr>
            <p:ph type="dt" sz="half" idx="2"/>
          </p:nvPr>
        </p:nvSpPr>
        <p:spPr>
          <a:xfrm>
            <a:off x="8187659" y="6492220"/>
            <a:ext cx="869349" cy="358621"/>
          </a:xfrm>
          <a:prstGeom prst="rect">
            <a:avLst/>
          </a:prstGeom>
        </p:spPr>
        <p:txBody>
          <a:bodyPr vert="horz" wrap="none" lIns="91440" tIns="45720" rIns="0" bIns="45720" rtlCol="0" anchor="ctr">
            <a:noAutofit/>
          </a:bodyPr>
          <a:lstStyle>
            <a:lvl1pPr algn="l">
              <a:defRPr sz="1078">
                <a:gradFill>
                  <a:gsLst>
                    <a:gs pos="2917">
                      <a:srgbClr val="505050"/>
                    </a:gs>
                    <a:gs pos="100000">
                      <a:srgbClr val="505050"/>
                    </a:gs>
                  </a:gsLst>
                  <a:lin ang="5400000" scaled="0"/>
                </a:gradFill>
              </a:defRPr>
            </a:lvl1pPr>
          </a:lstStyle>
          <a:p>
            <a:fld id="{89DE2E20-C700-4A3A-A890-B84EE414F382}" type="datetime1">
              <a:rPr lang="en-US" smtClean="0"/>
              <a:t>4/17/2020</a:t>
            </a:fld>
            <a:endParaRPr lang="en-US"/>
          </a:p>
        </p:txBody>
      </p:sp>
      <p:sp>
        <p:nvSpPr>
          <p:cNvPr id="8" name="Footer Placeholder 7"/>
          <p:cNvSpPr>
            <a:spLocks noGrp="1"/>
          </p:cNvSpPr>
          <p:nvPr>
            <p:ph type="ftr" sz="quarter" idx="3"/>
          </p:nvPr>
        </p:nvSpPr>
        <p:spPr>
          <a:xfrm>
            <a:off x="381293" y="6492220"/>
            <a:ext cx="5714707" cy="358621"/>
          </a:xfrm>
          <a:prstGeom prst="rect">
            <a:avLst/>
          </a:prstGeom>
        </p:spPr>
        <p:txBody>
          <a:bodyPr vert="horz" wrap="none" lIns="0" tIns="45720" rIns="0" bIns="45720" rtlCol="0" anchor="ctr">
            <a:noAutofit/>
          </a:bodyPr>
          <a:lstStyle>
            <a:lvl1pPr algn="l">
              <a:defRPr sz="1078">
                <a:gradFill>
                  <a:gsLst>
                    <a:gs pos="2917">
                      <a:srgbClr val="505050"/>
                    </a:gs>
                    <a:gs pos="100000">
                      <a:srgbClr val="505050"/>
                    </a:gs>
                  </a:gsLst>
                  <a:lin ang="5400000" scaled="0"/>
                </a:gradFill>
              </a:defRPr>
            </a:lvl1pPr>
          </a:lstStyle>
          <a:p>
            <a:r>
              <a:rPr lang="en-US"/>
              <a:t>microsoft.com/education</a:t>
            </a:r>
            <a:endParaRPr lang="en-US" dirty="0"/>
          </a:p>
        </p:txBody>
      </p:sp>
      <p:sp>
        <p:nvSpPr>
          <p:cNvPr id="9" name="Slide Number Placeholder 8"/>
          <p:cNvSpPr>
            <a:spLocks noGrp="1"/>
          </p:cNvSpPr>
          <p:nvPr>
            <p:ph type="sldNum" sz="quarter" idx="4"/>
          </p:nvPr>
        </p:nvSpPr>
        <p:spPr>
          <a:xfrm>
            <a:off x="11445808" y="6492220"/>
            <a:ext cx="364901" cy="358621"/>
          </a:xfrm>
          <a:prstGeom prst="rect">
            <a:avLst/>
          </a:prstGeom>
        </p:spPr>
        <p:txBody>
          <a:bodyPr vert="horz" wrap="none" lIns="91440" tIns="45720" rIns="0" bIns="45720" rtlCol="0" anchor="ctr">
            <a:noAutofit/>
          </a:bodyPr>
          <a:lstStyle>
            <a:lvl1pPr algn="r">
              <a:defRPr sz="1078">
                <a:gradFill>
                  <a:gsLst>
                    <a:gs pos="2917">
                      <a:srgbClr val="505050"/>
                    </a:gs>
                    <a:gs pos="100000">
                      <a:srgbClr val="505050"/>
                    </a:gs>
                  </a:gsLst>
                  <a:lin ang="5400000" scaled="0"/>
                </a:gradFill>
              </a:defRPr>
            </a:lvl1pPr>
          </a:lstStyle>
          <a:p>
            <a:fld id="{9373C030-8119-439B-A7A2-330B51F4C009}" type="slidenum">
              <a:rPr lang="en-US" smtClean="0"/>
              <a:pPr/>
              <a:t>‹#›</a:t>
            </a:fld>
            <a:endParaRPr lang="en-US"/>
          </a:p>
        </p:txBody>
      </p:sp>
      <p:pic>
        <p:nvPicPr>
          <p:cNvPr id="63" name="Picture 62"/>
          <p:cNvPicPr>
            <a:picLocks noChangeAspect="1"/>
          </p:cNvPicPr>
          <p:nvPr userDrawn="1"/>
        </p:nvPicPr>
        <p:blipFill>
          <a:blip r:embed="rId38"/>
          <a:stretch>
            <a:fillRect/>
          </a:stretch>
        </p:blipFill>
        <p:spPr>
          <a:xfrm>
            <a:off x="12243590" y="1"/>
            <a:ext cx="1027990" cy="2408945"/>
          </a:xfrm>
          <a:prstGeom prst="rect">
            <a:avLst/>
          </a:prstGeom>
        </p:spPr>
      </p:pic>
    </p:spTree>
    <p:extLst>
      <p:ext uri="{BB962C8B-B14F-4D97-AF65-F5344CB8AC3E}">
        <p14:creationId xmlns:p14="http://schemas.microsoft.com/office/powerpoint/2010/main" val="3767321851"/>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 id="2147483950" r:id="rId25"/>
    <p:sldLayoutId id="2147483951" r:id="rId26"/>
    <p:sldLayoutId id="2147483952" r:id="rId27"/>
    <p:sldLayoutId id="2147483953" r:id="rId28"/>
    <p:sldLayoutId id="2147484000" r:id="rId29"/>
    <p:sldLayoutId id="2147484001" r:id="rId30"/>
    <p:sldLayoutId id="2147484002" r:id="rId31"/>
    <p:sldLayoutId id="2147484004" r:id="rId32"/>
    <p:sldLayoutId id="2147484007" r:id="rId33"/>
    <p:sldLayoutId id="2147484021" r:id="rId34"/>
    <p:sldLayoutId id="2147484022" r:id="rId35"/>
    <p:sldLayoutId id="2147484023" r:id="rId36"/>
  </p:sldLayoutIdLst>
  <p:transition>
    <p:fade/>
  </p:transition>
  <p:hf hdr="0" dt="0"/>
  <p:txStyles>
    <p:titleStyle>
      <a:lvl1pPr algn="l" defTabSz="914225" rtl="0" eaLnBrk="1" latinLnBrk="0" hangingPunct="1">
        <a:spcBef>
          <a:spcPct val="0"/>
        </a:spcBef>
        <a:buNone/>
        <a:defRPr sz="3921" kern="1200" spc="-29" baseline="0">
          <a:gradFill>
            <a:gsLst>
              <a:gs pos="2917">
                <a:schemeClr val="tx1">
                  <a:lumMod val="75000"/>
                </a:schemeClr>
              </a:gs>
              <a:gs pos="100000">
                <a:schemeClr val="tx1">
                  <a:lumMod val="75000"/>
                </a:schemeClr>
              </a:gs>
            </a:gsLst>
            <a:lin ang="5400000" scaled="0"/>
          </a:gradFill>
          <a:latin typeface="Segoe UI Semilight" panose="020B0402040204020203" pitchFamily="34" charset="0"/>
          <a:ea typeface="+mj-ea"/>
          <a:cs typeface="Segoe UI Semilight" panose="020B0402040204020203" pitchFamily="34" charset="0"/>
        </a:defRPr>
      </a:lvl1pPr>
    </p:titleStyle>
    <p:bodyStyle>
      <a:lvl1pPr marL="0" indent="0" algn="l" defTabSz="914225" rtl="0" eaLnBrk="1" latinLnBrk="0" hangingPunct="1">
        <a:spcBef>
          <a:spcPts val="1765"/>
        </a:spcBef>
        <a:spcAft>
          <a:spcPts val="0"/>
        </a:spcAft>
        <a:buFont typeface="Arial" panose="020B0604020202020204" pitchFamily="34" charset="0"/>
        <a:buNone/>
        <a:defRPr sz="2745" kern="1200" baseline="0">
          <a:gradFill>
            <a:gsLst>
              <a:gs pos="2917">
                <a:srgbClr val="0078D7"/>
              </a:gs>
              <a:gs pos="100000">
                <a:srgbClr val="0078D7">
                  <a:alpha val="99000"/>
                </a:srgbClr>
              </a:gs>
            </a:gsLst>
            <a:lin ang="5400000" scaled="0"/>
          </a:gradFill>
          <a:latin typeface="Segoe UI Semibold" panose="020B0702040204020203" pitchFamily="34" charset="0"/>
          <a:ea typeface="+mn-ea"/>
          <a:cs typeface="Segoe UI Semibold" panose="020B0702040204020203" pitchFamily="34" charset="0"/>
        </a:defRPr>
      </a:lvl1pPr>
      <a:lvl2pPr marL="0" indent="0" algn="l" defTabSz="914225" rtl="0" eaLnBrk="1" latinLnBrk="0" hangingPunct="1">
        <a:spcBef>
          <a:spcPts val="588"/>
        </a:spcBef>
        <a:spcAft>
          <a:spcPts val="588"/>
        </a:spcAft>
        <a:buClr>
          <a:schemeClr val="bg1">
            <a:lumMod val="65000"/>
          </a:schemeClr>
        </a:buClr>
        <a:buFont typeface="Arial" panose="020B0604020202020204" pitchFamily="34" charset="0"/>
        <a:buNone/>
        <a:defRPr sz="2353" kern="1200">
          <a:gradFill>
            <a:gsLst>
              <a:gs pos="2917">
                <a:schemeClr val="tx1">
                  <a:lumMod val="75000"/>
                  <a:alpha val="99000"/>
                </a:schemeClr>
              </a:gs>
              <a:gs pos="100000">
                <a:schemeClr val="tx1">
                  <a:lumMod val="75000"/>
                </a:schemeClr>
              </a:gs>
            </a:gsLst>
            <a:lin ang="5400000" scaled="0"/>
          </a:gradFill>
          <a:latin typeface="+mn-lt"/>
          <a:ea typeface="+mn-ea"/>
          <a:cs typeface="+mn-cs"/>
        </a:defRPr>
      </a:lvl2pPr>
      <a:lvl3pPr marL="224097" indent="-220984" algn="l" defTabSz="914225" rtl="0" eaLnBrk="1" latinLnBrk="0" hangingPunct="1">
        <a:spcBef>
          <a:spcPts val="0"/>
        </a:spcBef>
        <a:spcAft>
          <a:spcPts val="588"/>
        </a:spcAft>
        <a:buClr>
          <a:srgbClr val="0078D7"/>
        </a:buClr>
        <a:buFont typeface="Arial" panose="020B0604020202020204" pitchFamily="34" charset="0"/>
        <a:buChar char="•"/>
        <a:defRPr sz="2353" kern="1200">
          <a:gradFill>
            <a:gsLst>
              <a:gs pos="2917">
                <a:schemeClr val="tx1">
                  <a:lumMod val="75000"/>
                  <a:alpha val="99000"/>
                </a:schemeClr>
              </a:gs>
              <a:gs pos="100000">
                <a:schemeClr val="tx1">
                  <a:lumMod val="75000"/>
                </a:schemeClr>
              </a:gs>
            </a:gsLst>
            <a:lin ang="5400000" scaled="0"/>
          </a:gradFill>
          <a:latin typeface="+mn-lt"/>
          <a:ea typeface="+mn-ea"/>
          <a:cs typeface="+mn-cs"/>
        </a:defRPr>
      </a:lvl3pPr>
      <a:lvl4pPr marL="557129" indent="-333032" algn="l" defTabSz="914225" rtl="0" eaLnBrk="1" latinLnBrk="0" hangingPunct="1">
        <a:spcBef>
          <a:spcPts val="0"/>
        </a:spcBef>
        <a:spcAft>
          <a:spcPts val="784"/>
        </a:spcAft>
        <a:buClr>
          <a:srgbClr val="0078D7"/>
        </a:buClr>
        <a:buFont typeface="Segoe UI Symbol" panose="020B0502040204020203" pitchFamily="34" charset="0"/>
        <a:buChar char=""/>
        <a:defRPr sz="1961" kern="1200">
          <a:gradFill>
            <a:gsLst>
              <a:gs pos="2917">
                <a:schemeClr val="tx1">
                  <a:lumMod val="75000"/>
                  <a:alpha val="99000"/>
                </a:schemeClr>
              </a:gs>
              <a:gs pos="100000">
                <a:schemeClr val="tx1">
                  <a:lumMod val="75000"/>
                </a:schemeClr>
              </a:gs>
            </a:gsLst>
            <a:lin ang="5400000" scaled="0"/>
          </a:gradFill>
          <a:latin typeface="+mn-lt"/>
          <a:ea typeface="+mn-ea"/>
          <a:cs typeface="+mn-cs"/>
        </a:defRPr>
      </a:lvl4pPr>
      <a:lvl5pPr marL="784338" indent="-222541" algn="l" defTabSz="914225" rtl="0" eaLnBrk="1" latinLnBrk="0" hangingPunct="1">
        <a:spcBef>
          <a:spcPts val="0"/>
        </a:spcBef>
        <a:spcAft>
          <a:spcPts val="784"/>
        </a:spcAft>
        <a:buClr>
          <a:srgbClr val="0078D7"/>
        </a:buClr>
        <a:buFont typeface="Arial" panose="020B0604020202020204" pitchFamily="34" charset="0"/>
        <a:buChar char="+"/>
        <a:defRPr sz="1961" kern="1200" baseline="0">
          <a:gradFill>
            <a:gsLst>
              <a:gs pos="2917">
                <a:schemeClr val="tx1">
                  <a:lumMod val="75000"/>
                  <a:alpha val="99000"/>
                </a:schemeClr>
              </a:gs>
              <a:gs pos="100000">
                <a:schemeClr val="tx1">
                  <a:lumMod val="75000"/>
                </a:schemeClr>
              </a:gs>
            </a:gsLst>
            <a:lin ang="5400000" scaled="0"/>
          </a:gradFill>
          <a:latin typeface="+mn-lt"/>
          <a:ea typeface="+mn-ea"/>
          <a:cs typeface="+mn-cs"/>
        </a:defRPr>
      </a:lvl5pPr>
      <a:lvl6pPr marL="1064459" indent="-277008" algn="l" defTabSz="914225" rtl="0" eaLnBrk="1" latinLnBrk="0" hangingPunct="1">
        <a:spcBef>
          <a:spcPts val="0"/>
        </a:spcBef>
        <a:buClr>
          <a:schemeClr val="tx2"/>
        </a:buClr>
        <a:buFont typeface="+mj-lt"/>
        <a:buAutoNum type="alphaLcPeriod"/>
        <a:defRPr sz="1961" kern="1200">
          <a:solidFill>
            <a:schemeClr val="tx1"/>
          </a:solidFill>
          <a:latin typeface="+mn-lt"/>
          <a:ea typeface="+mn-ea"/>
          <a:cs typeface="+mn-cs"/>
        </a:defRPr>
      </a:lvl6pPr>
      <a:lvl7pPr marL="2971230" indent="-228556" algn="l" defTabSz="9142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3">
          <p15:clr>
            <a:srgbClr val="F26B43"/>
          </p15:clr>
        </p15:guide>
        <p15:guide id="2" pos="245">
          <p15:clr>
            <a:srgbClr val="F26B43"/>
          </p15:clr>
        </p15:guide>
        <p15:guide id="3" pos="7589">
          <p15:clr>
            <a:srgbClr val="F26B43"/>
          </p15:clr>
        </p15:guide>
        <p15:guide id="4" pos="3917">
          <p15:clr>
            <a:srgbClr val="F26B43"/>
          </p15:clr>
        </p15:guide>
        <p15:guide id="5" orient="horz" pos="235">
          <p15:clr>
            <a:srgbClr val="F26B43"/>
          </p15:clr>
        </p15:guide>
        <p15:guide id="6" orient="horz" pos="4171">
          <p15:clr>
            <a:srgbClr val="F26B43"/>
          </p15:clr>
        </p15:guide>
        <p15:guide id="7" pos="2573">
          <p15:clr>
            <a:srgbClr val="F26B43"/>
          </p15:clr>
        </p15:guide>
        <p15:guide id="8" pos="526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35.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3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40.png"/><Relationship Id="rId2" Type="http://schemas.openxmlformats.org/officeDocument/2006/relationships/diagramData" Target="../diagrams/data1.xml"/><Relationship Id="rId1" Type="http://schemas.openxmlformats.org/officeDocument/2006/relationships/slideLayout" Target="../slideLayouts/slideLayout2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41.png"/><Relationship Id="rId2" Type="http://schemas.openxmlformats.org/officeDocument/2006/relationships/diagramData" Target="../diagrams/data2.xml"/><Relationship Id="rId1" Type="http://schemas.openxmlformats.org/officeDocument/2006/relationships/slideLayout" Target="../slideLayouts/slideLayout2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41.png"/><Relationship Id="rId2" Type="http://schemas.openxmlformats.org/officeDocument/2006/relationships/diagramData" Target="../diagrams/data3.xml"/><Relationship Id="rId1" Type="http://schemas.openxmlformats.org/officeDocument/2006/relationships/slideLayout" Target="../slideLayouts/slideLayout2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8.xml"/><Relationship Id="rId4" Type="http://schemas.openxmlformats.org/officeDocument/2006/relationships/image" Target="../media/image44.png"/></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hyperlink" Target="https://aka.ms/FRECNBCollaborationSpacePermissions" TargetMode="Externa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Layout" Target="../slideLayouts/slideLayout33.xml"/><Relationship Id="rId5" Type="http://schemas.openxmlformats.org/officeDocument/2006/relationships/image" Target="../media/image24.png"/><Relationship Id="rId4" Type="http://schemas.openxmlformats.org/officeDocument/2006/relationships/image" Target="../media/image23.png"/></Relationships>
</file>

<file path=ppt/slides/_rels/slide2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15.xml"/><Relationship Id="rId1" Type="http://schemas.openxmlformats.org/officeDocument/2006/relationships/slideLayout" Target="../slideLayouts/slideLayout34.xml"/><Relationship Id="rId5" Type="http://schemas.openxmlformats.org/officeDocument/2006/relationships/image" Target="../media/image54.png"/><Relationship Id="rId4" Type="http://schemas.openxmlformats.org/officeDocument/2006/relationships/hyperlink" Target="http://www.covermesongs.com/2017/02/cover-qa-special-announcement.html"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5.png"/><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11.xml"/><Relationship Id="rId5" Type="http://schemas.openxmlformats.org/officeDocument/2006/relationships/image" Target="../media/image29.png"/><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hyperlink" Target="https://educationblog.microsoft.com/2017/06/onenote-class-notebook-update-lms-researcher-stickers/" TargetMode="External"/><Relationship Id="rId2" Type="http://schemas.openxmlformats.org/officeDocument/2006/relationships/image" Target="../media/image30.png"/><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35.xml"/><Relationship Id="rId4" Type="http://schemas.openxmlformats.org/officeDocument/2006/relationships/image" Target="../media/image32.png"/></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35.xml"/><Relationship Id="rId5" Type="http://schemas.openxmlformats.org/officeDocument/2006/relationships/image" Target="../media/image35.png"/><Relationship Id="rId4" Type="http://schemas.openxmlformats.org/officeDocument/2006/relationships/image" Target="../media/image34.pn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A065717-A665-4F09-9C62-BC9F3A180E7B}"/>
              </a:ext>
            </a:extLst>
          </p:cNvPr>
          <p:cNvSpPr>
            <a:spLocks noGrp="1"/>
          </p:cNvSpPr>
          <p:nvPr>
            <p:ph type="pic" sz="quarter" idx="10"/>
          </p:nvPr>
        </p:nvSpPr>
        <p:spPr/>
      </p:sp>
      <p:pic>
        <p:nvPicPr>
          <p:cNvPr id="5" name="Picture 4" descr="A picture containing drawing&#10;&#10;Description automatically generated">
            <a:extLst>
              <a:ext uri="{FF2B5EF4-FFF2-40B4-BE49-F238E27FC236}">
                <a16:creationId xmlns:a16="http://schemas.microsoft.com/office/drawing/2014/main" id="{B579FAD3-5FF0-4FBB-BA37-1DC49146910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457" y="114300"/>
            <a:ext cx="1943338" cy="1943338"/>
          </a:xfrm>
          <a:prstGeom prst="rect">
            <a:avLst/>
          </a:prstGeom>
        </p:spPr>
      </p:pic>
      <p:pic>
        <p:nvPicPr>
          <p:cNvPr id="6" name="Picture 5">
            <a:extLst>
              <a:ext uri="{FF2B5EF4-FFF2-40B4-BE49-F238E27FC236}">
                <a16:creationId xmlns:a16="http://schemas.microsoft.com/office/drawing/2014/main" id="{B90CD048-168C-4134-B29C-CBCE3C76CDED}"/>
              </a:ext>
            </a:extLst>
          </p:cNvPr>
          <p:cNvPicPr>
            <a:picLocks noChangeAspect="1"/>
          </p:cNvPicPr>
          <p:nvPr/>
        </p:nvPicPr>
        <p:blipFill>
          <a:blip r:embed="rId3"/>
          <a:stretch>
            <a:fillRect/>
          </a:stretch>
        </p:blipFill>
        <p:spPr>
          <a:xfrm>
            <a:off x="152400" y="5540206"/>
            <a:ext cx="3237722" cy="1187165"/>
          </a:xfrm>
          <a:prstGeom prst="rect">
            <a:avLst/>
          </a:prstGeom>
        </p:spPr>
      </p:pic>
      <p:sp>
        <p:nvSpPr>
          <p:cNvPr id="7" name="Title 1">
            <a:extLst>
              <a:ext uri="{FF2B5EF4-FFF2-40B4-BE49-F238E27FC236}">
                <a16:creationId xmlns:a16="http://schemas.microsoft.com/office/drawing/2014/main" id="{6DAFF063-70AD-495B-952C-8B7C1829884B}"/>
              </a:ext>
            </a:extLst>
          </p:cNvPr>
          <p:cNvSpPr>
            <a:spLocks noGrp="1"/>
          </p:cNvSpPr>
          <p:nvPr>
            <p:ph type="title"/>
          </p:nvPr>
        </p:nvSpPr>
        <p:spPr>
          <a:xfrm>
            <a:off x="76457" y="2285973"/>
            <a:ext cx="4037959" cy="3063219"/>
          </a:xfrm>
        </p:spPr>
        <p:txBody>
          <a:bodyPr/>
          <a:lstStyle/>
          <a:p>
            <a:r>
              <a:rPr lang="en-US" sz="3200" dirty="0"/>
              <a:t>Creating a Collaborative Learning Environment in Teams</a:t>
            </a:r>
            <a:br>
              <a:rPr lang="en-US" sz="3200" dirty="0"/>
            </a:br>
            <a:r>
              <a:rPr lang="en-US" sz="3200" dirty="0"/>
              <a:t>  </a:t>
            </a:r>
            <a:br>
              <a:rPr lang="en-US" sz="3200" dirty="0"/>
            </a:br>
            <a:r>
              <a:rPr lang="en-US" sz="3200" dirty="0"/>
              <a:t>Class Notebook</a:t>
            </a:r>
            <a:endParaRPr lang="en-US" sz="2000" dirty="0">
              <a:solidFill>
                <a:schemeClr val="tx1"/>
              </a:solidFill>
            </a:endParaRPr>
          </a:p>
        </p:txBody>
      </p:sp>
    </p:spTree>
    <p:extLst>
      <p:ext uri="{BB962C8B-B14F-4D97-AF65-F5344CB8AC3E}">
        <p14:creationId xmlns:p14="http://schemas.microsoft.com/office/powerpoint/2010/main" val="103087481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0621BF5-1505-3C4C-A5FE-903CC55DDF30}"/>
              </a:ext>
            </a:extLst>
          </p:cNvPr>
          <p:cNvSpPr>
            <a:spLocks noGrp="1"/>
          </p:cNvSpPr>
          <p:nvPr>
            <p:ph type="body" sz="quarter" idx="14"/>
          </p:nvPr>
        </p:nvSpPr>
        <p:spPr/>
        <p:txBody>
          <a:bodyPr/>
          <a:lstStyle/>
          <a:p>
            <a:r>
              <a:rPr lang="en-US"/>
              <a:t>Web UI with highlight</a:t>
            </a:r>
          </a:p>
        </p:txBody>
      </p:sp>
      <p:sp>
        <p:nvSpPr>
          <p:cNvPr id="18" name="Rectangle 17">
            <a:extLst>
              <a:ext uri="{FF2B5EF4-FFF2-40B4-BE49-F238E27FC236}">
                <a16:creationId xmlns:a16="http://schemas.microsoft.com/office/drawing/2014/main" id="{344ED62C-7FBB-7C4E-B9DD-D0B37B640184}"/>
              </a:ext>
            </a:extLst>
          </p:cNvPr>
          <p:cNvSpPr/>
          <p:nvPr/>
        </p:nvSpPr>
        <p:spPr>
          <a:xfrm>
            <a:off x="0" y="0"/>
            <a:ext cx="12192000" cy="1169043"/>
          </a:xfrm>
          <a:prstGeom prst="rect">
            <a:avLst/>
          </a:prstGeom>
          <a:solidFill>
            <a:srgbClr val="B401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2">
            <a:extLst>
              <a:ext uri="{FF2B5EF4-FFF2-40B4-BE49-F238E27FC236}">
                <a16:creationId xmlns:a16="http://schemas.microsoft.com/office/drawing/2014/main" id="{ED772027-5015-4946-921A-7B97EF750A71}"/>
              </a:ext>
            </a:extLst>
          </p:cNvPr>
          <p:cNvSpPr txBox="1">
            <a:spLocks/>
          </p:cNvSpPr>
          <p:nvPr/>
        </p:nvSpPr>
        <p:spPr>
          <a:xfrm>
            <a:off x="838199" y="29496"/>
            <a:ext cx="10061575" cy="1139547"/>
          </a:xfrm>
          <a:prstGeom prst="rect">
            <a:avLst/>
          </a:prstGeom>
        </p:spPr>
        <p:txBody>
          <a:bodyPr lIns="0" rIns="0" anchor="ctr"/>
          <a:lstStyle>
            <a:lvl1pPr marL="0" indent="0" algn="l" defTabSz="914400" rtl="0" eaLnBrk="1" latinLnBrk="0" hangingPunct="1">
              <a:lnSpc>
                <a:spcPct val="90000"/>
              </a:lnSpc>
              <a:spcBef>
                <a:spcPts val="1000"/>
              </a:spcBef>
              <a:buFontTx/>
              <a:buNone/>
              <a:defRPr sz="3600" b="1" i="0" kern="1200">
                <a:solidFill>
                  <a:schemeClr val="bg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0" dirty="0">
                <a:latin typeface="+mn-lt"/>
              </a:rPr>
              <a:t>Anatomy of Class Notebook</a:t>
            </a:r>
          </a:p>
        </p:txBody>
      </p:sp>
      <p:pic>
        <p:nvPicPr>
          <p:cNvPr id="15" name="Picture 14">
            <a:extLst>
              <a:ext uri="{FF2B5EF4-FFF2-40B4-BE49-F238E27FC236}">
                <a16:creationId xmlns:a16="http://schemas.microsoft.com/office/drawing/2014/main" id="{8FAB6896-A073-4968-9130-C96A6E5857C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17444" y="1371436"/>
            <a:ext cx="8975028" cy="5521746"/>
          </a:xfrm>
          <a:prstGeom prst="rect">
            <a:avLst/>
          </a:prstGeom>
        </p:spPr>
      </p:pic>
      <p:sp>
        <p:nvSpPr>
          <p:cNvPr id="16" name="TextBox 15">
            <a:extLst>
              <a:ext uri="{FF2B5EF4-FFF2-40B4-BE49-F238E27FC236}">
                <a16:creationId xmlns:a16="http://schemas.microsoft.com/office/drawing/2014/main" id="{5392BA74-C7A2-415F-AB26-1632FC1F0BBA}"/>
              </a:ext>
            </a:extLst>
          </p:cNvPr>
          <p:cNvSpPr txBox="1"/>
          <p:nvPr/>
        </p:nvSpPr>
        <p:spPr>
          <a:xfrm>
            <a:off x="3846583" y="2255332"/>
            <a:ext cx="5480785" cy="3416320"/>
          </a:xfrm>
          <a:prstGeom prst="rect">
            <a:avLst/>
          </a:prstGeom>
          <a:noFill/>
        </p:spPr>
        <p:txBody>
          <a:bodyPr wrap="square" rtlCol="0">
            <a:spAutoFit/>
          </a:bodyPr>
          <a:lstStyle/>
          <a:p>
            <a:r>
              <a:rPr lang="en-US" b="1" dirty="0"/>
              <a:t>Welcome </a:t>
            </a:r>
            <a:r>
              <a:rPr lang="en-US" dirty="0"/>
              <a:t>– Share general course information and announcements</a:t>
            </a:r>
          </a:p>
          <a:p>
            <a:endParaRPr lang="en-US" dirty="0"/>
          </a:p>
          <a:p>
            <a:r>
              <a:rPr lang="en-US" b="1" dirty="0"/>
              <a:t>Content Library</a:t>
            </a:r>
            <a:r>
              <a:rPr lang="en-US" dirty="0"/>
              <a:t> – Publish course materials for students to VIEW only</a:t>
            </a:r>
            <a:endParaRPr lang="en-US" b="1" dirty="0"/>
          </a:p>
          <a:p>
            <a:endParaRPr lang="en-US" dirty="0"/>
          </a:p>
          <a:p>
            <a:r>
              <a:rPr lang="en-US" b="1" dirty="0"/>
              <a:t>Collaboration Space - </a:t>
            </a:r>
            <a:r>
              <a:rPr lang="en-US" dirty="0"/>
              <a:t>Teacher and all students can work collaboratively</a:t>
            </a:r>
          </a:p>
          <a:p>
            <a:endParaRPr lang="en-US" dirty="0"/>
          </a:p>
          <a:p>
            <a:r>
              <a:rPr lang="en-US" b="1" dirty="0"/>
              <a:t>Student Notebooks – </a:t>
            </a:r>
            <a:r>
              <a:rPr lang="en-US" dirty="0"/>
              <a:t>Private space for each student to take notes, brainstorm, and work. Only the teacher and the student have access. </a:t>
            </a:r>
            <a:endParaRPr lang="en-US" b="1" dirty="0"/>
          </a:p>
        </p:txBody>
      </p:sp>
      <p:sp>
        <p:nvSpPr>
          <p:cNvPr id="17" name="Flowchart: Off-page Connector 16">
            <a:extLst>
              <a:ext uri="{FF2B5EF4-FFF2-40B4-BE49-F238E27FC236}">
                <a16:creationId xmlns:a16="http://schemas.microsoft.com/office/drawing/2014/main" id="{4E6707AB-26AB-42A1-AE09-CD8F4CA3CC8D}"/>
              </a:ext>
            </a:extLst>
          </p:cNvPr>
          <p:cNvSpPr/>
          <p:nvPr/>
        </p:nvSpPr>
        <p:spPr>
          <a:xfrm rot="16200000">
            <a:off x="2671993" y="1668884"/>
            <a:ext cx="505065" cy="1560285"/>
          </a:xfrm>
          <a:prstGeom prst="flowChartOffpageConnector">
            <a:avLst/>
          </a:prstGeom>
          <a:solidFill>
            <a:srgbClr val="005EB8"/>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Off-page Connector 19">
            <a:extLst>
              <a:ext uri="{FF2B5EF4-FFF2-40B4-BE49-F238E27FC236}">
                <a16:creationId xmlns:a16="http://schemas.microsoft.com/office/drawing/2014/main" id="{0923F68D-1474-42FE-9C03-8349EDD9827F}"/>
              </a:ext>
            </a:extLst>
          </p:cNvPr>
          <p:cNvSpPr/>
          <p:nvPr/>
        </p:nvSpPr>
        <p:spPr>
          <a:xfrm rot="16200000">
            <a:off x="2671993" y="2454003"/>
            <a:ext cx="505065" cy="1560285"/>
          </a:xfrm>
          <a:prstGeom prst="flowChartOffpageConnector">
            <a:avLst/>
          </a:prstGeom>
          <a:solidFill>
            <a:srgbClr val="772981"/>
          </a:solidFill>
          <a:ln>
            <a:solidFill>
              <a:srgbClr val="7729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Off-page Connector 20">
            <a:extLst>
              <a:ext uri="{FF2B5EF4-FFF2-40B4-BE49-F238E27FC236}">
                <a16:creationId xmlns:a16="http://schemas.microsoft.com/office/drawing/2014/main" id="{8B37BE8C-CE33-4C6F-B953-F887E515A496}"/>
              </a:ext>
            </a:extLst>
          </p:cNvPr>
          <p:cNvSpPr/>
          <p:nvPr/>
        </p:nvSpPr>
        <p:spPr>
          <a:xfrm rot="16200000">
            <a:off x="2671993" y="3316518"/>
            <a:ext cx="505065" cy="1560285"/>
          </a:xfrm>
          <a:prstGeom prst="flowChartOffpageConnector">
            <a:avLst/>
          </a:prstGeom>
          <a:solidFill>
            <a:srgbClr val="7ABC2E"/>
          </a:solidFill>
          <a:ln>
            <a:solidFill>
              <a:srgbClr val="7ABC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lowchart: Off-page Connector 21">
            <a:extLst>
              <a:ext uri="{FF2B5EF4-FFF2-40B4-BE49-F238E27FC236}">
                <a16:creationId xmlns:a16="http://schemas.microsoft.com/office/drawing/2014/main" id="{C91167C3-6B45-4DF8-9E0B-8B67BBDC1DCE}"/>
              </a:ext>
            </a:extLst>
          </p:cNvPr>
          <p:cNvSpPr/>
          <p:nvPr/>
        </p:nvSpPr>
        <p:spPr>
          <a:xfrm rot="16200000">
            <a:off x="2671993" y="4124450"/>
            <a:ext cx="505065" cy="1560285"/>
          </a:xfrm>
          <a:prstGeom prst="flowChartOffpageConnector">
            <a:avLst/>
          </a:prstGeom>
          <a:solidFill>
            <a:srgbClr val="5B6770"/>
          </a:solidFill>
          <a:ln>
            <a:solidFill>
              <a:srgbClr val="5B67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334970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0621BF5-1505-3C4C-A5FE-903CC55DDF30}"/>
              </a:ext>
            </a:extLst>
          </p:cNvPr>
          <p:cNvSpPr>
            <a:spLocks noGrp="1"/>
          </p:cNvSpPr>
          <p:nvPr>
            <p:ph type="body" sz="quarter" idx="14"/>
          </p:nvPr>
        </p:nvSpPr>
        <p:spPr/>
        <p:txBody>
          <a:bodyPr/>
          <a:lstStyle/>
          <a:p>
            <a:r>
              <a:rPr lang="en-US"/>
              <a:t>Web UI with highlight</a:t>
            </a:r>
          </a:p>
        </p:txBody>
      </p:sp>
      <p:sp>
        <p:nvSpPr>
          <p:cNvPr id="12" name="Content Placeholder 2">
            <a:extLst>
              <a:ext uri="{FF2B5EF4-FFF2-40B4-BE49-F238E27FC236}">
                <a16:creationId xmlns:a16="http://schemas.microsoft.com/office/drawing/2014/main" id="{B8490928-25F3-9E41-BA3B-BBB4058428D4}"/>
              </a:ext>
            </a:extLst>
          </p:cNvPr>
          <p:cNvSpPr txBox="1">
            <a:spLocks/>
          </p:cNvSpPr>
          <p:nvPr/>
        </p:nvSpPr>
        <p:spPr>
          <a:xfrm>
            <a:off x="4125512" y="6210733"/>
            <a:ext cx="3585882" cy="445168"/>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1800" kern="1200">
                <a:solidFill>
                  <a:schemeClr val="tx1">
                    <a:lumMod val="85000"/>
                    <a:lumOff val="15000"/>
                  </a:schemeClr>
                </a:solidFill>
                <a:latin typeface="+mn-lt"/>
                <a:ea typeface="+mn-ea"/>
                <a:cs typeface="+mn-cs"/>
              </a:defRPr>
            </a:lvl1pPr>
            <a:lvl2pPr marL="4572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2pPr>
            <a:lvl3pPr marL="6858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9144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4pPr>
            <a:lvl5pPr marL="11430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5pPr>
            <a:lvl6pPr marL="131286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148431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7pPr>
            <a:lvl8pPr marL="165735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8pPr>
            <a:lvl9pPr marL="1882775"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9pPr>
          </a:lstStyle>
          <a:p>
            <a:pPr marL="0" indent="0">
              <a:buNone/>
            </a:pPr>
            <a:endParaRPr lang="en-US" sz="1200"/>
          </a:p>
        </p:txBody>
      </p:sp>
      <p:sp>
        <p:nvSpPr>
          <p:cNvPr id="14" name="Rectangle 13">
            <a:extLst>
              <a:ext uri="{FF2B5EF4-FFF2-40B4-BE49-F238E27FC236}">
                <a16:creationId xmlns:a16="http://schemas.microsoft.com/office/drawing/2014/main" id="{8E408FA1-6F21-7A46-9C7C-2147CAAA07C2}"/>
              </a:ext>
            </a:extLst>
          </p:cNvPr>
          <p:cNvSpPr/>
          <p:nvPr/>
        </p:nvSpPr>
        <p:spPr>
          <a:xfrm>
            <a:off x="7810155" y="2413597"/>
            <a:ext cx="1474690" cy="6856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Grey box">
            <a:extLst>
              <a:ext uri="{FF2B5EF4-FFF2-40B4-BE49-F238E27FC236}">
                <a16:creationId xmlns:a16="http://schemas.microsoft.com/office/drawing/2014/main" id="{DCC0C47D-6E34-FC4B-A775-6B27E6F5E261}"/>
              </a:ext>
            </a:extLst>
          </p:cNvPr>
          <p:cNvSpPr/>
          <p:nvPr/>
        </p:nvSpPr>
        <p:spPr>
          <a:xfrm>
            <a:off x="0" y="1105822"/>
            <a:ext cx="12192000" cy="5752177"/>
          </a:xfrm>
          <a:custGeom>
            <a:avLst/>
            <a:gdLst>
              <a:gd name="connsiteX0" fmla="*/ 867824 w 12192000"/>
              <a:gd name="connsiteY0" fmla="*/ 671479 h 5684942"/>
              <a:gd name="connsiteX1" fmla="*/ 867824 w 12192000"/>
              <a:gd name="connsiteY1" fmla="*/ 5353518 h 5684942"/>
              <a:gd name="connsiteX2" fmla="*/ 3434862 w 12192000"/>
              <a:gd name="connsiteY2" fmla="*/ 5353518 h 5684942"/>
              <a:gd name="connsiteX3" fmla="*/ 3434862 w 12192000"/>
              <a:gd name="connsiteY3" fmla="*/ 671479 h 5684942"/>
              <a:gd name="connsiteX4" fmla="*/ 0 w 12192000"/>
              <a:gd name="connsiteY4" fmla="*/ 0 h 5684942"/>
              <a:gd name="connsiteX5" fmla="*/ 12192000 w 12192000"/>
              <a:gd name="connsiteY5" fmla="*/ 0 h 5684942"/>
              <a:gd name="connsiteX6" fmla="*/ 12192000 w 12192000"/>
              <a:gd name="connsiteY6" fmla="*/ 5684942 h 5684942"/>
              <a:gd name="connsiteX7" fmla="*/ 0 w 12192000"/>
              <a:gd name="connsiteY7" fmla="*/ 5684942 h 5684942"/>
              <a:gd name="connsiteX0" fmla="*/ 867824 w 12192000"/>
              <a:gd name="connsiteY0" fmla="*/ 738714 h 5752177"/>
              <a:gd name="connsiteX1" fmla="*/ 867824 w 12192000"/>
              <a:gd name="connsiteY1" fmla="*/ 5420753 h 5752177"/>
              <a:gd name="connsiteX2" fmla="*/ 3434862 w 12192000"/>
              <a:gd name="connsiteY2" fmla="*/ 5420753 h 5752177"/>
              <a:gd name="connsiteX3" fmla="*/ 3434862 w 12192000"/>
              <a:gd name="connsiteY3" fmla="*/ 738714 h 5752177"/>
              <a:gd name="connsiteX4" fmla="*/ 867824 w 12192000"/>
              <a:gd name="connsiteY4" fmla="*/ 738714 h 5752177"/>
              <a:gd name="connsiteX5" fmla="*/ 0 w 12192000"/>
              <a:gd name="connsiteY5" fmla="*/ 0 h 5752177"/>
              <a:gd name="connsiteX6" fmla="*/ 12192000 w 12192000"/>
              <a:gd name="connsiteY6" fmla="*/ 67235 h 5752177"/>
              <a:gd name="connsiteX7" fmla="*/ 12192000 w 12192000"/>
              <a:gd name="connsiteY7" fmla="*/ 5752177 h 5752177"/>
              <a:gd name="connsiteX8" fmla="*/ 0 w 12192000"/>
              <a:gd name="connsiteY8" fmla="*/ 5752177 h 5752177"/>
              <a:gd name="connsiteX9" fmla="*/ 0 w 12192000"/>
              <a:gd name="connsiteY9" fmla="*/ 0 h 5752177"/>
              <a:gd name="connsiteX0" fmla="*/ 867824 w 12192000"/>
              <a:gd name="connsiteY0" fmla="*/ 738714 h 5752177"/>
              <a:gd name="connsiteX1" fmla="*/ 867824 w 12192000"/>
              <a:gd name="connsiteY1" fmla="*/ 5420753 h 5752177"/>
              <a:gd name="connsiteX2" fmla="*/ 3434862 w 12192000"/>
              <a:gd name="connsiteY2" fmla="*/ 5420753 h 5752177"/>
              <a:gd name="connsiteX3" fmla="*/ 3434862 w 12192000"/>
              <a:gd name="connsiteY3" fmla="*/ 738714 h 5752177"/>
              <a:gd name="connsiteX4" fmla="*/ 867824 w 12192000"/>
              <a:gd name="connsiteY4" fmla="*/ 738714 h 5752177"/>
              <a:gd name="connsiteX5" fmla="*/ 0 w 12192000"/>
              <a:gd name="connsiteY5" fmla="*/ 0 h 5752177"/>
              <a:gd name="connsiteX6" fmla="*/ 12192000 w 12192000"/>
              <a:gd name="connsiteY6" fmla="*/ 0 h 5752177"/>
              <a:gd name="connsiteX7" fmla="*/ 12192000 w 12192000"/>
              <a:gd name="connsiteY7" fmla="*/ 5752177 h 5752177"/>
              <a:gd name="connsiteX8" fmla="*/ 0 w 12192000"/>
              <a:gd name="connsiteY8" fmla="*/ 5752177 h 5752177"/>
              <a:gd name="connsiteX9" fmla="*/ 0 w 12192000"/>
              <a:gd name="connsiteY9" fmla="*/ 0 h 5752177"/>
              <a:gd name="connsiteX0" fmla="*/ 3434862 w 12192000"/>
              <a:gd name="connsiteY0" fmla="*/ 738714 h 5752177"/>
              <a:gd name="connsiteX1" fmla="*/ 867824 w 12192000"/>
              <a:gd name="connsiteY1" fmla="*/ 5420753 h 5752177"/>
              <a:gd name="connsiteX2" fmla="*/ 3434862 w 12192000"/>
              <a:gd name="connsiteY2" fmla="*/ 5420753 h 5752177"/>
              <a:gd name="connsiteX3" fmla="*/ 3434862 w 12192000"/>
              <a:gd name="connsiteY3" fmla="*/ 738714 h 5752177"/>
              <a:gd name="connsiteX4" fmla="*/ 0 w 12192000"/>
              <a:gd name="connsiteY4" fmla="*/ 0 h 5752177"/>
              <a:gd name="connsiteX5" fmla="*/ 12192000 w 12192000"/>
              <a:gd name="connsiteY5" fmla="*/ 0 h 5752177"/>
              <a:gd name="connsiteX6" fmla="*/ 12192000 w 12192000"/>
              <a:gd name="connsiteY6" fmla="*/ 5752177 h 5752177"/>
              <a:gd name="connsiteX7" fmla="*/ 0 w 12192000"/>
              <a:gd name="connsiteY7" fmla="*/ 5752177 h 5752177"/>
              <a:gd name="connsiteX8" fmla="*/ 0 w 12192000"/>
              <a:gd name="connsiteY8" fmla="*/ 0 h 5752177"/>
              <a:gd name="connsiteX0" fmla="*/ 3434862 w 12192000"/>
              <a:gd name="connsiteY0" fmla="*/ 5420753 h 5752177"/>
              <a:gd name="connsiteX1" fmla="*/ 867824 w 12192000"/>
              <a:gd name="connsiteY1" fmla="*/ 5420753 h 5752177"/>
              <a:gd name="connsiteX2" fmla="*/ 3434862 w 12192000"/>
              <a:gd name="connsiteY2" fmla="*/ 5420753 h 5752177"/>
              <a:gd name="connsiteX3" fmla="*/ 0 w 12192000"/>
              <a:gd name="connsiteY3" fmla="*/ 0 h 5752177"/>
              <a:gd name="connsiteX4" fmla="*/ 12192000 w 12192000"/>
              <a:gd name="connsiteY4" fmla="*/ 0 h 5752177"/>
              <a:gd name="connsiteX5" fmla="*/ 12192000 w 12192000"/>
              <a:gd name="connsiteY5" fmla="*/ 5752177 h 5752177"/>
              <a:gd name="connsiteX6" fmla="*/ 0 w 12192000"/>
              <a:gd name="connsiteY6" fmla="*/ 5752177 h 5752177"/>
              <a:gd name="connsiteX7" fmla="*/ 0 w 12192000"/>
              <a:gd name="connsiteY7" fmla="*/ 0 h 5752177"/>
              <a:gd name="connsiteX0" fmla="*/ 0 w 12192000"/>
              <a:gd name="connsiteY0" fmla="*/ 0 h 5752177"/>
              <a:gd name="connsiteX1" fmla="*/ 12192000 w 12192000"/>
              <a:gd name="connsiteY1" fmla="*/ 0 h 5752177"/>
              <a:gd name="connsiteX2" fmla="*/ 12192000 w 12192000"/>
              <a:gd name="connsiteY2" fmla="*/ 5752177 h 5752177"/>
              <a:gd name="connsiteX3" fmla="*/ 0 w 12192000"/>
              <a:gd name="connsiteY3" fmla="*/ 5752177 h 5752177"/>
              <a:gd name="connsiteX4" fmla="*/ 0 w 12192000"/>
              <a:gd name="connsiteY4" fmla="*/ 0 h 5752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5752177">
                <a:moveTo>
                  <a:pt x="0" y="0"/>
                </a:moveTo>
                <a:lnTo>
                  <a:pt x="12192000" y="0"/>
                </a:lnTo>
                <a:lnTo>
                  <a:pt x="12192000" y="5752177"/>
                </a:lnTo>
                <a:lnTo>
                  <a:pt x="0" y="5752177"/>
                </a:lnTo>
                <a:lnTo>
                  <a:pt x="0" y="0"/>
                </a:lnTo>
                <a:close/>
              </a:path>
            </a:pathLst>
          </a:custGeom>
          <a:solidFill>
            <a:schemeClr val="tx1">
              <a:lumMod val="85000"/>
              <a:lumOff val="1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344ED62C-7FBB-7C4E-B9DD-D0B37B640184}"/>
              </a:ext>
            </a:extLst>
          </p:cNvPr>
          <p:cNvSpPr/>
          <p:nvPr/>
        </p:nvSpPr>
        <p:spPr>
          <a:xfrm>
            <a:off x="0" y="0"/>
            <a:ext cx="12192000" cy="1169043"/>
          </a:xfrm>
          <a:prstGeom prst="rect">
            <a:avLst/>
          </a:prstGeom>
          <a:solidFill>
            <a:srgbClr val="B401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2">
            <a:extLst>
              <a:ext uri="{FF2B5EF4-FFF2-40B4-BE49-F238E27FC236}">
                <a16:creationId xmlns:a16="http://schemas.microsoft.com/office/drawing/2014/main" id="{ED772027-5015-4946-921A-7B97EF750A71}"/>
              </a:ext>
            </a:extLst>
          </p:cNvPr>
          <p:cNvSpPr txBox="1">
            <a:spLocks/>
          </p:cNvSpPr>
          <p:nvPr/>
        </p:nvSpPr>
        <p:spPr>
          <a:xfrm>
            <a:off x="838199" y="29496"/>
            <a:ext cx="10061575" cy="1139547"/>
          </a:xfrm>
          <a:prstGeom prst="rect">
            <a:avLst/>
          </a:prstGeom>
        </p:spPr>
        <p:txBody>
          <a:bodyPr lIns="0" rIns="0" anchor="ctr"/>
          <a:lstStyle>
            <a:lvl1pPr marL="0" indent="0" algn="l" defTabSz="914400" rtl="0" eaLnBrk="1" latinLnBrk="0" hangingPunct="1">
              <a:lnSpc>
                <a:spcPct val="90000"/>
              </a:lnSpc>
              <a:spcBef>
                <a:spcPts val="1000"/>
              </a:spcBef>
              <a:buFontTx/>
              <a:buNone/>
              <a:defRPr sz="3600" b="1" i="0" kern="1200">
                <a:solidFill>
                  <a:schemeClr val="bg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0" dirty="0">
                <a:latin typeface="+mn-lt"/>
              </a:rPr>
              <a:t>View of Class Notebook</a:t>
            </a:r>
          </a:p>
        </p:txBody>
      </p:sp>
      <p:pic>
        <p:nvPicPr>
          <p:cNvPr id="4" name="Picture 3">
            <a:extLst>
              <a:ext uri="{FF2B5EF4-FFF2-40B4-BE49-F238E27FC236}">
                <a16:creationId xmlns:a16="http://schemas.microsoft.com/office/drawing/2014/main" id="{53F4200C-C863-6F4A-900F-71A68F43B1F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768838" y="1423612"/>
            <a:ext cx="8357353" cy="5232289"/>
          </a:xfrm>
          <a:prstGeom prst="rect">
            <a:avLst/>
          </a:prstGeom>
        </p:spPr>
      </p:pic>
      <p:grpSp>
        <p:nvGrpSpPr>
          <p:cNvPr id="5" name="Class notebook highlight">
            <a:extLst>
              <a:ext uri="{FF2B5EF4-FFF2-40B4-BE49-F238E27FC236}">
                <a16:creationId xmlns:a16="http://schemas.microsoft.com/office/drawing/2014/main" id="{C94EDBF1-C10E-A649-A7E9-F1E5AEF7F472}"/>
              </a:ext>
            </a:extLst>
          </p:cNvPr>
          <p:cNvGrpSpPr/>
          <p:nvPr/>
        </p:nvGrpSpPr>
        <p:grpSpPr>
          <a:xfrm>
            <a:off x="1768838" y="1423610"/>
            <a:ext cx="8364513" cy="5232292"/>
            <a:chOff x="1768838" y="1423610"/>
            <a:chExt cx="8364513" cy="5232292"/>
          </a:xfrm>
        </p:grpSpPr>
        <p:sp>
          <p:nvSpPr>
            <p:cNvPr id="33" name="Freeform 32">
              <a:extLst>
                <a:ext uri="{FF2B5EF4-FFF2-40B4-BE49-F238E27FC236}">
                  <a16:creationId xmlns:a16="http://schemas.microsoft.com/office/drawing/2014/main" id="{8C95F1D3-1B9C-0A48-A76E-A1676E6CB713}"/>
                </a:ext>
              </a:extLst>
            </p:cNvPr>
            <p:cNvSpPr/>
            <p:nvPr/>
          </p:nvSpPr>
          <p:spPr>
            <a:xfrm>
              <a:off x="1768838" y="1423610"/>
              <a:ext cx="8364513" cy="5232292"/>
            </a:xfrm>
            <a:custGeom>
              <a:avLst/>
              <a:gdLst>
                <a:gd name="connsiteX0" fmla="*/ 1394314 w 8589365"/>
                <a:gd name="connsiteY0" fmla="*/ 451824 h 5232292"/>
                <a:gd name="connsiteX1" fmla="*/ 1394314 w 8589365"/>
                <a:gd name="connsiteY1" fmla="*/ 773816 h 5232292"/>
                <a:gd name="connsiteX2" fmla="*/ 2343227 w 8589365"/>
                <a:gd name="connsiteY2" fmla="*/ 773816 h 5232292"/>
                <a:gd name="connsiteX3" fmla="*/ 2343227 w 8589365"/>
                <a:gd name="connsiteY3" fmla="*/ 451824 h 5232292"/>
                <a:gd name="connsiteX4" fmla="*/ 834567 w 8589365"/>
                <a:gd name="connsiteY4" fmla="*/ 0 h 5232292"/>
                <a:gd name="connsiteX5" fmla="*/ 7080705 w 8589365"/>
                <a:gd name="connsiteY5" fmla="*/ 0 h 5232292"/>
                <a:gd name="connsiteX6" fmla="*/ 7080705 w 8589365"/>
                <a:gd name="connsiteY6" fmla="*/ 1 h 5232292"/>
                <a:gd name="connsiteX7" fmla="*/ 8589365 w 8589365"/>
                <a:gd name="connsiteY7" fmla="*/ 1 h 5232292"/>
                <a:gd name="connsiteX8" fmla="*/ 8589365 w 8589365"/>
                <a:gd name="connsiteY8" fmla="*/ 5232291 h 5232292"/>
                <a:gd name="connsiteX9" fmla="*/ 6943295 w 8589365"/>
                <a:gd name="connsiteY9" fmla="*/ 5232291 h 5232292"/>
                <a:gd name="connsiteX10" fmla="*/ 6943295 w 8589365"/>
                <a:gd name="connsiteY10" fmla="*/ 5232292 h 5232292"/>
                <a:gd name="connsiteX11" fmla="*/ 1394314 w 8589365"/>
                <a:gd name="connsiteY11" fmla="*/ 5232292 h 5232292"/>
                <a:gd name="connsiteX12" fmla="*/ 697157 w 8589365"/>
                <a:gd name="connsiteY12" fmla="*/ 5232292 h 5232292"/>
                <a:gd name="connsiteX13" fmla="*/ 0 w 8589365"/>
                <a:gd name="connsiteY13" fmla="*/ 5232292 h 5232292"/>
                <a:gd name="connsiteX14" fmla="*/ 0 w 8589365"/>
                <a:gd name="connsiteY14" fmla="*/ 2 h 5232292"/>
                <a:gd name="connsiteX15" fmla="*/ 834567 w 8589365"/>
                <a:gd name="connsiteY15" fmla="*/ 2 h 5232292"/>
                <a:gd name="connsiteX0" fmla="*/ 1394314 w 8589365"/>
                <a:gd name="connsiteY0" fmla="*/ 451824 h 5232292"/>
                <a:gd name="connsiteX1" fmla="*/ 1394314 w 8589365"/>
                <a:gd name="connsiteY1" fmla="*/ 773816 h 5232292"/>
                <a:gd name="connsiteX2" fmla="*/ 2343227 w 8589365"/>
                <a:gd name="connsiteY2" fmla="*/ 773816 h 5232292"/>
                <a:gd name="connsiteX3" fmla="*/ 2343227 w 8589365"/>
                <a:gd name="connsiteY3" fmla="*/ 451824 h 5232292"/>
                <a:gd name="connsiteX4" fmla="*/ 1394314 w 8589365"/>
                <a:gd name="connsiteY4" fmla="*/ 451824 h 5232292"/>
                <a:gd name="connsiteX5" fmla="*/ 834567 w 8589365"/>
                <a:gd name="connsiteY5" fmla="*/ 0 h 5232292"/>
                <a:gd name="connsiteX6" fmla="*/ 7080705 w 8589365"/>
                <a:gd name="connsiteY6" fmla="*/ 0 h 5232292"/>
                <a:gd name="connsiteX7" fmla="*/ 7080705 w 8589365"/>
                <a:gd name="connsiteY7" fmla="*/ 1 h 5232292"/>
                <a:gd name="connsiteX8" fmla="*/ 8364513 w 8589365"/>
                <a:gd name="connsiteY8" fmla="*/ 14992 h 5232292"/>
                <a:gd name="connsiteX9" fmla="*/ 8589365 w 8589365"/>
                <a:gd name="connsiteY9" fmla="*/ 5232291 h 5232292"/>
                <a:gd name="connsiteX10" fmla="*/ 6943295 w 8589365"/>
                <a:gd name="connsiteY10" fmla="*/ 5232291 h 5232292"/>
                <a:gd name="connsiteX11" fmla="*/ 6943295 w 8589365"/>
                <a:gd name="connsiteY11" fmla="*/ 5232292 h 5232292"/>
                <a:gd name="connsiteX12" fmla="*/ 1394314 w 8589365"/>
                <a:gd name="connsiteY12" fmla="*/ 5232292 h 5232292"/>
                <a:gd name="connsiteX13" fmla="*/ 697157 w 8589365"/>
                <a:gd name="connsiteY13" fmla="*/ 5232292 h 5232292"/>
                <a:gd name="connsiteX14" fmla="*/ 0 w 8589365"/>
                <a:gd name="connsiteY14" fmla="*/ 5232292 h 5232292"/>
                <a:gd name="connsiteX15" fmla="*/ 0 w 8589365"/>
                <a:gd name="connsiteY15" fmla="*/ 2 h 5232292"/>
                <a:gd name="connsiteX16" fmla="*/ 834567 w 8589365"/>
                <a:gd name="connsiteY16" fmla="*/ 2 h 5232292"/>
                <a:gd name="connsiteX17" fmla="*/ 834567 w 8589365"/>
                <a:gd name="connsiteY17" fmla="*/ 0 h 5232292"/>
                <a:gd name="connsiteX0" fmla="*/ 1394314 w 8364513"/>
                <a:gd name="connsiteY0" fmla="*/ 451824 h 5232292"/>
                <a:gd name="connsiteX1" fmla="*/ 1394314 w 8364513"/>
                <a:gd name="connsiteY1" fmla="*/ 773816 h 5232292"/>
                <a:gd name="connsiteX2" fmla="*/ 2343227 w 8364513"/>
                <a:gd name="connsiteY2" fmla="*/ 773816 h 5232292"/>
                <a:gd name="connsiteX3" fmla="*/ 2343227 w 8364513"/>
                <a:gd name="connsiteY3" fmla="*/ 451824 h 5232292"/>
                <a:gd name="connsiteX4" fmla="*/ 1394314 w 8364513"/>
                <a:gd name="connsiteY4" fmla="*/ 451824 h 5232292"/>
                <a:gd name="connsiteX5" fmla="*/ 834567 w 8364513"/>
                <a:gd name="connsiteY5" fmla="*/ 0 h 5232292"/>
                <a:gd name="connsiteX6" fmla="*/ 7080705 w 8364513"/>
                <a:gd name="connsiteY6" fmla="*/ 0 h 5232292"/>
                <a:gd name="connsiteX7" fmla="*/ 7080705 w 8364513"/>
                <a:gd name="connsiteY7" fmla="*/ 1 h 5232292"/>
                <a:gd name="connsiteX8" fmla="*/ 8364513 w 8364513"/>
                <a:gd name="connsiteY8" fmla="*/ 14992 h 5232292"/>
                <a:gd name="connsiteX9" fmla="*/ 8364513 w 8364513"/>
                <a:gd name="connsiteY9" fmla="*/ 5232291 h 5232292"/>
                <a:gd name="connsiteX10" fmla="*/ 6943295 w 8364513"/>
                <a:gd name="connsiteY10" fmla="*/ 5232291 h 5232292"/>
                <a:gd name="connsiteX11" fmla="*/ 6943295 w 8364513"/>
                <a:gd name="connsiteY11" fmla="*/ 5232292 h 5232292"/>
                <a:gd name="connsiteX12" fmla="*/ 1394314 w 8364513"/>
                <a:gd name="connsiteY12" fmla="*/ 5232292 h 5232292"/>
                <a:gd name="connsiteX13" fmla="*/ 697157 w 8364513"/>
                <a:gd name="connsiteY13" fmla="*/ 5232292 h 5232292"/>
                <a:gd name="connsiteX14" fmla="*/ 0 w 8364513"/>
                <a:gd name="connsiteY14" fmla="*/ 5232292 h 5232292"/>
                <a:gd name="connsiteX15" fmla="*/ 0 w 8364513"/>
                <a:gd name="connsiteY15" fmla="*/ 2 h 5232292"/>
                <a:gd name="connsiteX16" fmla="*/ 834567 w 8364513"/>
                <a:gd name="connsiteY16" fmla="*/ 2 h 5232292"/>
                <a:gd name="connsiteX17" fmla="*/ 834567 w 8364513"/>
                <a:gd name="connsiteY17" fmla="*/ 0 h 5232292"/>
                <a:gd name="connsiteX0" fmla="*/ 1394314 w 8364513"/>
                <a:gd name="connsiteY0" fmla="*/ 451824 h 5232292"/>
                <a:gd name="connsiteX1" fmla="*/ 1394314 w 8364513"/>
                <a:gd name="connsiteY1" fmla="*/ 773816 h 5232292"/>
                <a:gd name="connsiteX2" fmla="*/ 2343227 w 8364513"/>
                <a:gd name="connsiteY2" fmla="*/ 773816 h 5232292"/>
                <a:gd name="connsiteX3" fmla="*/ 2343227 w 8364513"/>
                <a:gd name="connsiteY3" fmla="*/ 451824 h 5232292"/>
                <a:gd name="connsiteX4" fmla="*/ 1394314 w 8364513"/>
                <a:gd name="connsiteY4" fmla="*/ 451824 h 5232292"/>
                <a:gd name="connsiteX5" fmla="*/ 834567 w 8364513"/>
                <a:gd name="connsiteY5" fmla="*/ 0 h 5232292"/>
                <a:gd name="connsiteX6" fmla="*/ 7080705 w 8364513"/>
                <a:gd name="connsiteY6" fmla="*/ 0 h 5232292"/>
                <a:gd name="connsiteX7" fmla="*/ 7080705 w 8364513"/>
                <a:gd name="connsiteY7" fmla="*/ 1 h 5232292"/>
                <a:gd name="connsiteX8" fmla="*/ 8364513 w 8364513"/>
                <a:gd name="connsiteY8" fmla="*/ 2 h 5232292"/>
                <a:gd name="connsiteX9" fmla="*/ 8364513 w 8364513"/>
                <a:gd name="connsiteY9" fmla="*/ 5232291 h 5232292"/>
                <a:gd name="connsiteX10" fmla="*/ 6943295 w 8364513"/>
                <a:gd name="connsiteY10" fmla="*/ 5232291 h 5232292"/>
                <a:gd name="connsiteX11" fmla="*/ 6943295 w 8364513"/>
                <a:gd name="connsiteY11" fmla="*/ 5232292 h 5232292"/>
                <a:gd name="connsiteX12" fmla="*/ 1394314 w 8364513"/>
                <a:gd name="connsiteY12" fmla="*/ 5232292 h 5232292"/>
                <a:gd name="connsiteX13" fmla="*/ 697157 w 8364513"/>
                <a:gd name="connsiteY13" fmla="*/ 5232292 h 5232292"/>
                <a:gd name="connsiteX14" fmla="*/ 0 w 8364513"/>
                <a:gd name="connsiteY14" fmla="*/ 5232292 h 5232292"/>
                <a:gd name="connsiteX15" fmla="*/ 0 w 8364513"/>
                <a:gd name="connsiteY15" fmla="*/ 2 h 5232292"/>
                <a:gd name="connsiteX16" fmla="*/ 834567 w 8364513"/>
                <a:gd name="connsiteY16" fmla="*/ 2 h 5232292"/>
                <a:gd name="connsiteX17" fmla="*/ 834567 w 8364513"/>
                <a:gd name="connsiteY17" fmla="*/ 0 h 523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364513" h="5232292">
                  <a:moveTo>
                    <a:pt x="1394314" y="451824"/>
                  </a:moveTo>
                  <a:lnTo>
                    <a:pt x="1394314" y="773816"/>
                  </a:lnTo>
                  <a:lnTo>
                    <a:pt x="2343227" y="773816"/>
                  </a:lnTo>
                  <a:lnTo>
                    <a:pt x="2343227" y="451824"/>
                  </a:lnTo>
                  <a:lnTo>
                    <a:pt x="1394314" y="451824"/>
                  </a:lnTo>
                  <a:close/>
                  <a:moveTo>
                    <a:pt x="834567" y="0"/>
                  </a:moveTo>
                  <a:lnTo>
                    <a:pt x="7080705" y="0"/>
                  </a:lnTo>
                  <a:lnTo>
                    <a:pt x="7080705" y="1"/>
                  </a:lnTo>
                  <a:lnTo>
                    <a:pt x="8364513" y="2"/>
                  </a:lnTo>
                  <a:lnTo>
                    <a:pt x="8364513" y="5232291"/>
                  </a:lnTo>
                  <a:lnTo>
                    <a:pt x="6943295" y="5232291"/>
                  </a:lnTo>
                  <a:lnTo>
                    <a:pt x="6943295" y="5232292"/>
                  </a:lnTo>
                  <a:lnTo>
                    <a:pt x="1394314" y="5232292"/>
                  </a:lnTo>
                  <a:lnTo>
                    <a:pt x="697157" y="5232292"/>
                  </a:lnTo>
                  <a:lnTo>
                    <a:pt x="0" y="5232292"/>
                  </a:lnTo>
                  <a:lnTo>
                    <a:pt x="0" y="2"/>
                  </a:lnTo>
                  <a:lnTo>
                    <a:pt x="834567" y="2"/>
                  </a:lnTo>
                  <a:lnTo>
                    <a:pt x="834567" y="0"/>
                  </a:lnTo>
                  <a:close/>
                </a:path>
              </a:pathLst>
            </a:custGeom>
            <a:solidFill>
              <a:schemeClr val="tx1">
                <a:lumMod val="85000"/>
                <a:lumOff val="1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yellow highlight">
              <a:extLst>
                <a:ext uri="{FF2B5EF4-FFF2-40B4-BE49-F238E27FC236}">
                  <a16:creationId xmlns:a16="http://schemas.microsoft.com/office/drawing/2014/main" id="{ED16E1CF-FD01-3044-91B5-EB160ACAABD4}"/>
                </a:ext>
              </a:extLst>
            </p:cNvPr>
            <p:cNvSpPr/>
            <p:nvPr/>
          </p:nvSpPr>
          <p:spPr>
            <a:xfrm>
              <a:off x="3163152" y="1855750"/>
              <a:ext cx="948913" cy="341675"/>
            </a:xfrm>
            <a:prstGeom prst="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0" name="Canvas highlight">
            <a:extLst>
              <a:ext uri="{FF2B5EF4-FFF2-40B4-BE49-F238E27FC236}">
                <a16:creationId xmlns:a16="http://schemas.microsoft.com/office/drawing/2014/main" id="{4AF24EB0-163B-F44B-B728-3DE84E3D0201}"/>
              </a:ext>
            </a:extLst>
          </p:cNvPr>
          <p:cNvGrpSpPr/>
          <p:nvPr/>
        </p:nvGrpSpPr>
        <p:grpSpPr>
          <a:xfrm>
            <a:off x="1768838" y="1423610"/>
            <a:ext cx="8366483" cy="5232292"/>
            <a:chOff x="1768838" y="1423610"/>
            <a:chExt cx="8366483" cy="5232292"/>
          </a:xfrm>
        </p:grpSpPr>
        <p:sp>
          <p:nvSpPr>
            <p:cNvPr id="36" name="Freeform 35">
              <a:extLst>
                <a:ext uri="{FF2B5EF4-FFF2-40B4-BE49-F238E27FC236}">
                  <a16:creationId xmlns:a16="http://schemas.microsoft.com/office/drawing/2014/main" id="{C9E85C35-B460-F544-9C58-20D28B08CDCF}"/>
                </a:ext>
              </a:extLst>
            </p:cNvPr>
            <p:cNvSpPr/>
            <p:nvPr/>
          </p:nvSpPr>
          <p:spPr>
            <a:xfrm>
              <a:off x="1768838" y="1423610"/>
              <a:ext cx="8366483" cy="5232291"/>
            </a:xfrm>
            <a:custGeom>
              <a:avLst/>
              <a:gdLst>
                <a:gd name="connsiteX0" fmla="*/ 0 w 8350454"/>
                <a:gd name="connsiteY0" fmla="*/ 0 h 5232291"/>
                <a:gd name="connsiteX1" fmla="*/ 207370 w 8350454"/>
                <a:gd name="connsiteY1" fmla="*/ 0 h 5232291"/>
                <a:gd name="connsiteX2" fmla="*/ 8350454 w 8350454"/>
                <a:gd name="connsiteY2" fmla="*/ 0 h 5232291"/>
                <a:gd name="connsiteX3" fmla="*/ 8350454 w 8350454"/>
                <a:gd name="connsiteY3" fmla="*/ 851255 h 5232291"/>
                <a:gd name="connsiteX4" fmla="*/ 207370 w 8350454"/>
                <a:gd name="connsiteY4" fmla="*/ 851255 h 5232291"/>
                <a:gd name="connsiteX5" fmla="*/ 207370 w 8350454"/>
                <a:gd name="connsiteY5" fmla="*/ 5232291 h 5232291"/>
                <a:gd name="connsiteX6" fmla="*/ 0 w 8350454"/>
                <a:gd name="connsiteY6" fmla="*/ 5232291 h 5232291"/>
                <a:gd name="connsiteX0" fmla="*/ 0 w 8362029"/>
                <a:gd name="connsiteY0" fmla="*/ 0 h 5232291"/>
                <a:gd name="connsiteX1" fmla="*/ 207370 w 8362029"/>
                <a:gd name="connsiteY1" fmla="*/ 0 h 5232291"/>
                <a:gd name="connsiteX2" fmla="*/ 8362029 w 8362029"/>
                <a:gd name="connsiteY2" fmla="*/ 0 h 5232291"/>
                <a:gd name="connsiteX3" fmla="*/ 8350454 w 8362029"/>
                <a:gd name="connsiteY3" fmla="*/ 851255 h 5232291"/>
                <a:gd name="connsiteX4" fmla="*/ 207370 w 8362029"/>
                <a:gd name="connsiteY4" fmla="*/ 851255 h 5232291"/>
                <a:gd name="connsiteX5" fmla="*/ 207370 w 8362029"/>
                <a:gd name="connsiteY5" fmla="*/ 5232291 h 5232291"/>
                <a:gd name="connsiteX6" fmla="*/ 0 w 8362029"/>
                <a:gd name="connsiteY6" fmla="*/ 5232291 h 5232291"/>
                <a:gd name="connsiteX7" fmla="*/ 0 w 8362029"/>
                <a:gd name="connsiteY7" fmla="*/ 0 h 5232291"/>
                <a:gd name="connsiteX0" fmla="*/ 0 w 8364159"/>
                <a:gd name="connsiteY0" fmla="*/ 0 h 5232291"/>
                <a:gd name="connsiteX1" fmla="*/ 207370 w 8364159"/>
                <a:gd name="connsiteY1" fmla="*/ 0 h 5232291"/>
                <a:gd name="connsiteX2" fmla="*/ 8362029 w 8364159"/>
                <a:gd name="connsiteY2" fmla="*/ 0 h 5232291"/>
                <a:gd name="connsiteX3" fmla="*/ 8350454 w 8364159"/>
                <a:gd name="connsiteY3" fmla="*/ 851255 h 5232291"/>
                <a:gd name="connsiteX4" fmla="*/ 207370 w 8364159"/>
                <a:gd name="connsiteY4" fmla="*/ 851255 h 5232291"/>
                <a:gd name="connsiteX5" fmla="*/ 207370 w 8364159"/>
                <a:gd name="connsiteY5" fmla="*/ 5232291 h 5232291"/>
                <a:gd name="connsiteX6" fmla="*/ 0 w 8364159"/>
                <a:gd name="connsiteY6" fmla="*/ 5232291 h 5232291"/>
                <a:gd name="connsiteX7" fmla="*/ 0 w 8364159"/>
                <a:gd name="connsiteY7" fmla="*/ 0 h 5232291"/>
                <a:gd name="connsiteX0" fmla="*/ 0 w 8366483"/>
                <a:gd name="connsiteY0" fmla="*/ 0 h 5232291"/>
                <a:gd name="connsiteX1" fmla="*/ 207370 w 8366483"/>
                <a:gd name="connsiteY1" fmla="*/ 0 h 5232291"/>
                <a:gd name="connsiteX2" fmla="*/ 8362029 w 8366483"/>
                <a:gd name="connsiteY2" fmla="*/ 0 h 5232291"/>
                <a:gd name="connsiteX3" fmla="*/ 8362028 w 8366483"/>
                <a:gd name="connsiteY3" fmla="*/ 851255 h 5232291"/>
                <a:gd name="connsiteX4" fmla="*/ 207370 w 8366483"/>
                <a:gd name="connsiteY4" fmla="*/ 851255 h 5232291"/>
                <a:gd name="connsiteX5" fmla="*/ 207370 w 8366483"/>
                <a:gd name="connsiteY5" fmla="*/ 5232291 h 5232291"/>
                <a:gd name="connsiteX6" fmla="*/ 0 w 8366483"/>
                <a:gd name="connsiteY6" fmla="*/ 5232291 h 5232291"/>
                <a:gd name="connsiteX7" fmla="*/ 0 w 8366483"/>
                <a:gd name="connsiteY7" fmla="*/ 0 h 5232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66483" h="5232291">
                  <a:moveTo>
                    <a:pt x="0" y="0"/>
                  </a:moveTo>
                  <a:lnTo>
                    <a:pt x="207370" y="0"/>
                  </a:lnTo>
                  <a:lnTo>
                    <a:pt x="8362029" y="0"/>
                  </a:lnTo>
                  <a:cubicBezTo>
                    <a:pt x="8369746" y="850911"/>
                    <a:pt x="8365886" y="567503"/>
                    <a:pt x="8362028" y="851255"/>
                  </a:cubicBezTo>
                  <a:lnTo>
                    <a:pt x="207370" y="851255"/>
                  </a:lnTo>
                  <a:lnTo>
                    <a:pt x="207370" y="5232291"/>
                  </a:lnTo>
                  <a:lnTo>
                    <a:pt x="0" y="5232291"/>
                  </a:lnTo>
                  <a:lnTo>
                    <a:pt x="0" y="0"/>
                  </a:lnTo>
                  <a:close/>
                </a:path>
              </a:pathLst>
            </a:custGeom>
            <a:solidFill>
              <a:schemeClr val="tx1">
                <a:lumMod val="85000"/>
                <a:lumOff val="1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yellow highlight">
              <a:extLst>
                <a:ext uri="{FF2B5EF4-FFF2-40B4-BE49-F238E27FC236}">
                  <a16:creationId xmlns:a16="http://schemas.microsoft.com/office/drawing/2014/main" id="{C5A794AC-261A-1944-951F-2AA8EBF360E9}"/>
                </a:ext>
              </a:extLst>
            </p:cNvPr>
            <p:cNvSpPr/>
            <p:nvPr/>
          </p:nvSpPr>
          <p:spPr>
            <a:xfrm>
              <a:off x="1976208" y="2274865"/>
              <a:ext cx="8143084" cy="4381037"/>
            </a:xfrm>
            <a:prstGeom prst="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8" name="From left to right 1">
            <a:extLst>
              <a:ext uri="{FF2B5EF4-FFF2-40B4-BE49-F238E27FC236}">
                <a16:creationId xmlns:a16="http://schemas.microsoft.com/office/drawing/2014/main" id="{65A4FB82-2DBE-2D40-8071-13A68416629E}"/>
              </a:ext>
            </a:extLst>
          </p:cNvPr>
          <p:cNvGrpSpPr/>
          <p:nvPr/>
        </p:nvGrpSpPr>
        <p:grpSpPr>
          <a:xfrm>
            <a:off x="1768837" y="1423608"/>
            <a:ext cx="8364512" cy="5232292"/>
            <a:chOff x="1768837" y="1423608"/>
            <a:chExt cx="8364512" cy="5232292"/>
          </a:xfrm>
        </p:grpSpPr>
        <p:sp>
          <p:nvSpPr>
            <p:cNvPr id="47" name="Freeform 46">
              <a:extLst>
                <a:ext uri="{FF2B5EF4-FFF2-40B4-BE49-F238E27FC236}">
                  <a16:creationId xmlns:a16="http://schemas.microsoft.com/office/drawing/2014/main" id="{BD01A0E5-F99B-6E4A-96B7-C9F76A80C5F0}"/>
                </a:ext>
              </a:extLst>
            </p:cNvPr>
            <p:cNvSpPr/>
            <p:nvPr/>
          </p:nvSpPr>
          <p:spPr>
            <a:xfrm>
              <a:off x="1768837" y="1423608"/>
              <a:ext cx="8364512" cy="5232292"/>
            </a:xfrm>
            <a:custGeom>
              <a:avLst/>
              <a:gdLst>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1822961 w 8364512"/>
                <a:gd name="connsiteY4" fmla="*/ 5232290 h 5232292"/>
                <a:gd name="connsiteX5" fmla="*/ 1822961 w 8364512"/>
                <a:gd name="connsiteY5" fmla="*/ 1404013 h 5232292"/>
                <a:gd name="connsiteX6" fmla="*/ 791483 w 8364512"/>
                <a:gd name="connsiteY6" fmla="*/ 1404013 h 5232292"/>
                <a:gd name="connsiteX7" fmla="*/ 791483 w 8364512"/>
                <a:gd name="connsiteY7" fmla="*/ 1404016 h 5232292"/>
                <a:gd name="connsiteX8" fmla="*/ 207370 w 8364512"/>
                <a:gd name="connsiteY8" fmla="*/ 1404016 h 5232292"/>
                <a:gd name="connsiteX9" fmla="*/ 2073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64512" h="5232292">
                  <a:moveTo>
                    <a:pt x="211080" y="0"/>
                  </a:moveTo>
                  <a:lnTo>
                    <a:pt x="8364512" y="0"/>
                  </a:lnTo>
                  <a:lnTo>
                    <a:pt x="8364512" y="1404013"/>
                  </a:lnTo>
                  <a:lnTo>
                    <a:pt x="8364512" y="5232290"/>
                  </a:lnTo>
                  <a:lnTo>
                    <a:pt x="1822961" y="5232290"/>
                  </a:lnTo>
                  <a:lnTo>
                    <a:pt x="1822961" y="1404013"/>
                  </a:lnTo>
                  <a:lnTo>
                    <a:pt x="791483" y="1404013"/>
                  </a:lnTo>
                  <a:lnTo>
                    <a:pt x="791483" y="1404016"/>
                  </a:lnTo>
                  <a:lnTo>
                    <a:pt x="207370" y="1404016"/>
                  </a:lnTo>
                  <a:lnTo>
                    <a:pt x="207370" y="5232292"/>
                  </a:lnTo>
                  <a:lnTo>
                    <a:pt x="0" y="5232292"/>
                  </a:lnTo>
                  <a:lnTo>
                    <a:pt x="0" y="1"/>
                  </a:lnTo>
                  <a:lnTo>
                    <a:pt x="207370" y="1"/>
                  </a:lnTo>
                  <a:lnTo>
                    <a:pt x="207370" y="2"/>
                  </a:lnTo>
                  <a:lnTo>
                    <a:pt x="211080" y="2"/>
                  </a:lnTo>
                  <a:close/>
                </a:path>
              </a:pathLst>
            </a:custGeom>
            <a:solidFill>
              <a:schemeClr val="tx1">
                <a:lumMod val="85000"/>
                <a:lumOff val="1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yellow highlight">
              <a:extLst>
                <a:ext uri="{FF2B5EF4-FFF2-40B4-BE49-F238E27FC236}">
                  <a16:creationId xmlns:a16="http://schemas.microsoft.com/office/drawing/2014/main" id="{3A6C27C0-9D90-2241-82FA-474476000241}"/>
                </a:ext>
              </a:extLst>
            </p:cNvPr>
            <p:cNvSpPr/>
            <p:nvPr/>
          </p:nvSpPr>
          <p:spPr>
            <a:xfrm>
              <a:off x="1979007" y="2827624"/>
              <a:ext cx="1612793" cy="3828275"/>
            </a:xfrm>
            <a:prstGeom prst="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2" name="From left to right 2">
            <a:extLst>
              <a:ext uri="{FF2B5EF4-FFF2-40B4-BE49-F238E27FC236}">
                <a16:creationId xmlns:a16="http://schemas.microsoft.com/office/drawing/2014/main" id="{1C867B1A-0F9E-9A43-AF4D-1EBEF392C2C8}"/>
              </a:ext>
            </a:extLst>
          </p:cNvPr>
          <p:cNvGrpSpPr/>
          <p:nvPr/>
        </p:nvGrpSpPr>
        <p:grpSpPr>
          <a:xfrm>
            <a:off x="1760201" y="1417695"/>
            <a:ext cx="8376598" cy="5253626"/>
            <a:chOff x="1760201" y="1417695"/>
            <a:chExt cx="8376598" cy="5253626"/>
          </a:xfrm>
        </p:grpSpPr>
        <p:sp>
          <p:nvSpPr>
            <p:cNvPr id="50" name="Freeform 49">
              <a:extLst>
                <a:ext uri="{FF2B5EF4-FFF2-40B4-BE49-F238E27FC236}">
                  <a16:creationId xmlns:a16="http://schemas.microsoft.com/office/drawing/2014/main" id="{74EA0AB6-F5E3-8047-A0AF-69C10C81D508}"/>
                </a:ext>
              </a:extLst>
            </p:cNvPr>
            <p:cNvSpPr/>
            <p:nvPr/>
          </p:nvSpPr>
          <p:spPr>
            <a:xfrm>
              <a:off x="1760201" y="1417695"/>
              <a:ext cx="8376598" cy="5253626"/>
            </a:xfrm>
            <a:custGeom>
              <a:avLst/>
              <a:gdLst>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1822961 w 8364512"/>
                <a:gd name="connsiteY4" fmla="*/ 5232290 h 5232292"/>
                <a:gd name="connsiteX5" fmla="*/ 1822961 w 8364512"/>
                <a:gd name="connsiteY5" fmla="*/ 1404013 h 5232292"/>
                <a:gd name="connsiteX6" fmla="*/ 791483 w 8364512"/>
                <a:gd name="connsiteY6" fmla="*/ 1404013 h 5232292"/>
                <a:gd name="connsiteX7" fmla="*/ 791483 w 8364512"/>
                <a:gd name="connsiteY7" fmla="*/ 1404016 h 5232292"/>
                <a:gd name="connsiteX8" fmla="*/ 207370 w 8364512"/>
                <a:gd name="connsiteY8" fmla="*/ 1404016 h 5232292"/>
                <a:gd name="connsiteX9" fmla="*/ 2073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1822961 w 8364512"/>
                <a:gd name="connsiteY4" fmla="*/ 5232290 h 5232292"/>
                <a:gd name="connsiteX5" fmla="*/ 3397761 w 8364512"/>
                <a:gd name="connsiteY5" fmla="*/ 1414173 h 5232292"/>
                <a:gd name="connsiteX6" fmla="*/ 791483 w 8364512"/>
                <a:gd name="connsiteY6" fmla="*/ 1404013 h 5232292"/>
                <a:gd name="connsiteX7" fmla="*/ 791483 w 8364512"/>
                <a:gd name="connsiteY7" fmla="*/ 1404016 h 5232292"/>
                <a:gd name="connsiteX8" fmla="*/ 207370 w 8364512"/>
                <a:gd name="connsiteY8" fmla="*/ 1404016 h 5232292"/>
                <a:gd name="connsiteX9" fmla="*/ 2073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 name="connsiteX15" fmla="*/ 211080 w 8364512"/>
                <a:gd name="connsiteY15" fmla="*/ 0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3407921 w 8364512"/>
                <a:gd name="connsiteY4" fmla="*/ 5222130 h 5232292"/>
                <a:gd name="connsiteX5" fmla="*/ 3397761 w 8364512"/>
                <a:gd name="connsiteY5" fmla="*/ 1414173 h 5232292"/>
                <a:gd name="connsiteX6" fmla="*/ 791483 w 8364512"/>
                <a:gd name="connsiteY6" fmla="*/ 1404013 h 5232292"/>
                <a:gd name="connsiteX7" fmla="*/ 791483 w 8364512"/>
                <a:gd name="connsiteY7" fmla="*/ 1404016 h 5232292"/>
                <a:gd name="connsiteX8" fmla="*/ 207370 w 8364512"/>
                <a:gd name="connsiteY8" fmla="*/ 1404016 h 5232292"/>
                <a:gd name="connsiteX9" fmla="*/ 2073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 name="connsiteX15" fmla="*/ 211080 w 8364512"/>
                <a:gd name="connsiteY15" fmla="*/ 0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3407921 w 8364512"/>
                <a:gd name="connsiteY4" fmla="*/ 5222130 h 5232292"/>
                <a:gd name="connsiteX5" fmla="*/ 3397761 w 8364512"/>
                <a:gd name="connsiteY5" fmla="*/ 1414173 h 5232292"/>
                <a:gd name="connsiteX6" fmla="*/ 791483 w 8364512"/>
                <a:gd name="connsiteY6" fmla="*/ 1404013 h 5232292"/>
                <a:gd name="connsiteX7" fmla="*/ 791483 w 8364512"/>
                <a:gd name="connsiteY7" fmla="*/ 1404016 h 5232292"/>
                <a:gd name="connsiteX8" fmla="*/ 207370 w 8364512"/>
                <a:gd name="connsiteY8" fmla="*/ 1404016 h 5232292"/>
                <a:gd name="connsiteX9" fmla="*/ 17821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 name="connsiteX15" fmla="*/ 211080 w 8364512"/>
                <a:gd name="connsiteY15" fmla="*/ 0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3407921 w 8364512"/>
                <a:gd name="connsiteY4" fmla="*/ 5222130 h 5232292"/>
                <a:gd name="connsiteX5" fmla="*/ 3397761 w 8364512"/>
                <a:gd name="connsiteY5" fmla="*/ 1414173 h 5232292"/>
                <a:gd name="connsiteX6" fmla="*/ 791483 w 8364512"/>
                <a:gd name="connsiteY6" fmla="*/ 1404013 h 5232292"/>
                <a:gd name="connsiteX7" fmla="*/ 791483 w 8364512"/>
                <a:gd name="connsiteY7" fmla="*/ 1404016 h 5232292"/>
                <a:gd name="connsiteX8" fmla="*/ 1782170 w 8364512"/>
                <a:gd name="connsiteY8" fmla="*/ 1414176 h 5232292"/>
                <a:gd name="connsiteX9" fmla="*/ 17821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 name="connsiteX15" fmla="*/ 211080 w 8364512"/>
                <a:gd name="connsiteY15" fmla="*/ 0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3407921 w 8364512"/>
                <a:gd name="connsiteY4" fmla="*/ 5222130 h 5232292"/>
                <a:gd name="connsiteX5" fmla="*/ 3397761 w 8364512"/>
                <a:gd name="connsiteY5" fmla="*/ 1414173 h 5232292"/>
                <a:gd name="connsiteX6" fmla="*/ 791483 w 8364512"/>
                <a:gd name="connsiteY6" fmla="*/ 1404013 h 5232292"/>
                <a:gd name="connsiteX7" fmla="*/ 1756683 w 8364512"/>
                <a:gd name="connsiteY7" fmla="*/ 1414176 h 5232292"/>
                <a:gd name="connsiteX8" fmla="*/ 1782170 w 8364512"/>
                <a:gd name="connsiteY8" fmla="*/ 1414176 h 5232292"/>
                <a:gd name="connsiteX9" fmla="*/ 17821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 name="connsiteX15" fmla="*/ 211080 w 8364512"/>
                <a:gd name="connsiteY15" fmla="*/ 0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3407921 w 8364512"/>
                <a:gd name="connsiteY4" fmla="*/ 5222130 h 5232292"/>
                <a:gd name="connsiteX5" fmla="*/ 3397761 w 8364512"/>
                <a:gd name="connsiteY5" fmla="*/ 1414173 h 5232292"/>
                <a:gd name="connsiteX6" fmla="*/ 1756683 w 8364512"/>
                <a:gd name="connsiteY6" fmla="*/ 1414176 h 5232292"/>
                <a:gd name="connsiteX7" fmla="*/ 1782170 w 8364512"/>
                <a:gd name="connsiteY7" fmla="*/ 1414176 h 5232292"/>
                <a:gd name="connsiteX8" fmla="*/ 1782170 w 8364512"/>
                <a:gd name="connsiteY8" fmla="*/ 5232292 h 5232292"/>
                <a:gd name="connsiteX9" fmla="*/ 0 w 8364512"/>
                <a:gd name="connsiteY9" fmla="*/ 5232292 h 5232292"/>
                <a:gd name="connsiteX10" fmla="*/ 0 w 8364512"/>
                <a:gd name="connsiteY10" fmla="*/ 1 h 5232292"/>
                <a:gd name="connsiteX11" fmla="*/ 207370 w 8364512"/>
                <a:gd name="connsiteY11" fmla="*/ 1 h 5232292"/>
                <a:gd name="connsiteX12" fmla="*/ 207370 w 8364512"/>
                <a:gd name="connsiteY12" fmla="*/ 2 h 5232292"/>
                <a:gd name="connsiteX13" fmla="*/ 211080 w 8364512"/>
                <a:gd name="connsiteY13" fmla="*/ 2 h 5232292"/>
                <a:gd name="connsiteX14" fmla="*/ 211080 w 8364512"/>
                <a:gd name="connsiteY14" fmla="*/ 0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3407921 w 8364512"/>
                <a:gd name="connsiteY4" fmla="*/ 5222130 h 5232292"/>
                <a:gd name="connsiteX5" fmla="*/ 3397761 w 8364512"/>
                <a:gd name="connsiteY5" fmla="*/ 1414173 h 5232292"/>
                <a:gd name="connsiteX6" fmla="*/ 1756683 w 8364512"/>
                <a:gd name="connsiteY6" fmla="*/ 1414176 h 5232292"/>
                <a:gd name="connsiteX7" fmla="*/ 1782170 w 8364512"/>
                <a:gd name="connsiteY7" fmla="*/ 5232292 h 5232292"/>
                <a:gd name="connsiteX8" fmla="*/ 0 w 8364512"/>
                <a:gd name="connsiteY8" fmla="*/ 5232292 h 5232292"/>
                <a:gd name="connsiteX9" fmla="*/ 0 w 8364512"/>
                <a:gd name="connsiteY9" fmla="*/ 1 h 5232292"/>
                <a:gd name="connsiteX10" fmla="*/ 207370 w 8364512"/>
                <a:gd name="connsiteY10" fmla="*/ 1 h 5232292"/>
                <a:gd name="connsiteX11" fmla="*/ 207370 w 8364512"/>
                <a:gd name="connsiteY11" fmla="*/ 2 h 5232292"/>
                <a:gd name="connsiteX12" fmla="*/ 211080 w 8364512"/>
                <a:gd name="connsiteY12" fmla="*/ 2 h 5232292"/>
                <a:gd name="connsiteX13" fmla="*/ 211080 w 8364512"/>
                <a:gd name="connsiteY13" fmla="*/ 0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3407921 w 8364512"/>
                <a:gd name="connsiteY4" fmla="*/ 5222130 h 5232292"/>
                <a:gd name="connsiteX5" fmla="*/ 3397761 w 8364512"/>
                <a:gd name="connsiteY5" fmla="*/ 1414173 h 5232292"/>
                <a:gd name="connsiteX6" fmla="*/ 1777003 w 8364512"/>
                <a:gd name="connsiteY6" fmla="*/ 1414176 h 5232292"/>
                <a:gd name="connsiteX7" fmla="*/ 1782170 w 8364512"/>
                <a:gd name="connsiteY7" fmla="*/ 5232292 h 5232292"/>
                <a:gd name="connsiteX8" fmla="*/ 0 w 8364512"/>
                <a:gd name="connsiteY8" fmla="*/ 5232292 h 5232292"/>
                <a:gd name="connsiteX9" fmla="*/ 0 w 8364512"/>
                <a:gd name="connsiteY9" fmla="*/ 1 h 5232292"/>
                <a:gd name="connsiteX10" fmla="*/ 207370 w 8364512"/>
                <a:gd name="connsiteY10" fmla="*/ 1 h 5232292"/>
                <a:gd name="connsiteX11" fmla="*/ 207370 w 8364512"/>
                <a:gd name="connsiteY11" fmla="*/ 2 h 5232292"/>
                <a:gd name="connsiteX12" fmla="*/ 211080 w 8364512"/>
                <a:gd name="connsiteY12" fmla="*/ 2 h 5232292"/>
                <a:gd name="connsiteX13" fmla="*/ 211080 w 8364512"/>
                <a:gd name="connsiteY13" fmla="*/ 0 h 5232292"/>
                <a:gd name="connsiteX0" fmla="*/ 211080 w 8364512"/>
                <a:gd name="connsiteY0" fmla="*/ 0 h 5242450"/>
                <a:gd name="connsiteX1" fmla="*/ 8364512 w 8364512"/>
                <a:gd name="connsiteY1" fmla="*/ 0 h 5242450"/>
                <a:gd name="connsiteX2" fmla="*/ 8364512 w 8364512"/>
                <a:gd name="connsiteY2" fmla="*/ 1404013 h 5242450"/>
                <a:gd name="connsiteX3" fmla="*/ 8364512 w 8364512"/>
                <a:gd name="connsiteY3" fmla="*/ 5232290 h 5242450"/>
                <a:gd name="connsiteX4" fmla="*/ 3418081 w 8364512"/>
                <a:gd name="connsiteY4" fmla="*/ 5242450 h 5242450"/>
                <a:gd name="connsiteX5" fmla="*/ 3397761 w 8364512"/>
                <a:gd name="connsiteY5" fmla="*/ 1414173 h 5242450"/>
                <a:gd name="connsiteX6" fmla="*/ 1777003 w 8364512"/>
                <a:gd name="connsiteY6" fmla="*/ 1414176 h 5242450"/>
                <a:gd name="connsiteX7" fmla="*/ 1782170 w 8364512"/>
                <a:gd name="connsiteY7" fmla="*/ 5232292 h 5242450"/>
                <a:gd name="connsiteX8" fmla="*/ 0 w 8364512"/>
                <a:gd name="connsiteY8" fmla="*/ 5232292 h 5242450"/>
                <a:gd name="connsiteX9" fmla="*/ 0 w 8364512"/>
                <a:gd name="connsiteY9" fmla="*/ 1 h 5242450"/>
                <a:gd name="connsiteX10" fmla="*/ 207370 w 8364512"/>
                <a:gd name="connsiteY10" fmla="*/ 1 h 5242450"/>
                <a:gd name="connsiteX11" fmla="*/ 207370 w 8364512"/>
                <a:gd name="connsiteY11" fmla="*/ 2 h 5242450"/>
                <a:gd name="connsiteX12" fmla="*/ 211080 w 8364512"/>
                <a:gd name="connsiteY12" fmla="*/ 2 h 5242450"/>
                <a:gd name="connsiteX13" fmla="*/ 211080 w 8364512"/>
                <a:gd name="connsiteY13" fmla="*/ 0 h 5242450"/>
                <a:gd name="connsiteX0" fmla="*/ 211080 w 8374672"/>
                <a:gd name="connsiteY0" fmla="*/ 0 h 5262770"/>
                <a:gd name="connsiteX1" fmla="*/ 8364512 w 8374672"/>
                <a:gd name="connsiteY1" fmla="*/ 0 h 5262770"/>
                <a:gd name="connsiteX2" fmla="*/ 8364512 w 8374672"/>
                <a:gd name="connsiteY2" fmla="*/ 1404013 h 5262770"/>
                <a:gd name="connsiteX3" fmla="*/ 8374672 w 8374672"/>
                <a:gd name="connsiteY3" fmla="*/ 5262770 h 5262770"/>
                <a:gd name="connsiteX4" fmla="*/ 3418081 w 8374672"/>
                <a:gd name="connsiteY4" fmla="*/ 5242450 h 5262770"/>
                <a:gd name="connsiteX5" fmla="*/ 3397761 w 8374672"/>
                <a:gd name="connsiteY5" fmla="*/ 1414173 h 5262770"/>
                <a:gd name="connsiteX6" fmla="*/ 1777003 w 8374672"/>
                <a:gd name="connsiteY6" fmla="*/ 1414176 h 5262770"/>
                <a:gd name="connsiteX7" fmla="*/ 1782170 w 8374672"/>
                <a:gd name="connsiteY7" fmla="*/ 5232292 h 5262770"/>
                <a:gd name="connsiteX8" fmla="*/ 0 w 8374672"/>
                <a:gd name="connsiteY8" fmla="*/ 5232292 h 5262770"/>
                <a:gd name="connsiteX9" fmla="*/ 0 w 8374672"/>
                <a:gd name="connsiteY9" fmla="*/ 1 h 5262770"/>
                <a:gd name="connsiteX10" fmla="*/ 207370 w 8374672"/>
                <a:gd name="connsiteY10" fmla="*/ 1 h 5262770"/>
                <a:gd name="connsiteX11" fmla="*/ 207370 w 8374672"/>
                <a:gd name="connsiteY11" fmla="*/ 2 h 5262770"/>
                <a:gd name="connsiteX12" fmla="*/ 211080 w 8374672"/>
                <a:gd name="connsiteY12" fmla="*/ 2 h 5262770"/>
                <a:gd name="connsiteX13" fmla="*/ 211080 w 8374672"/>
                <a:gd name="connsiteY13" fmla="*/ 0 h 5262770"/>
                <a:gd name="connsiteX0" fmla="*/ 211080 w 8364805"/>
                <a:gd name="connsiteY0" fmla="*/ 0 h 5242450"/>
                <a:gd name="connsiteX1" fmla="*/ 8364512 w 8364805"/>
                <a:gd name="connsiteY1" fmla="*/ 0 h 5242450"/>
                <a:gd name="connsiteX2" fmla="*/ 8364512 w 8364805"/>
                <a:gd name="connsiteY2" fmla="*/ 1404013 h 5242450"/>
                <a:gd name="connsiteX3" fmla="*/ 8344192 w 8364805"/>
                <a:gd name="connsiteY3" fmla="*/ 5242450 h 5242450"/>
                <a:gd name="connsiteX4" fmla="*/ 3418081 w 8364805"/>
                <a:gd name="connsiteY4" fmla="*/ 5242450 h 5242450"/>
                <a:gd name="connsiteX5" fmla="*/ 3397761 w 8364805"/>
                <a:gd name="connsiteY5" fmla="*/ 1414173 h 5242450"/>
                <a:gd name="connsiteX6" fmla="*/ 1777003 w 8364805"/>
                <a:gd name="connsiteY6" fmla="*/ 1414176 h 5242450"/>
                <a:gd name="connsiteX7" fmla="*/ 1782170 w 8364805"/>
                <a:gd name="connsiteY7" fmla="*/ 5232292 h 5242450"/>
                <a:gd name="connsiteX8" fmla="*/ 0 w 8364805"/>
                <a:gd name="connsiteY8" fmla="*/ 5232292 h 5242450"/>
                <a:gd name="connsiteX9" fmla="*/ 0 w 8364805"/>
                <a:gd name="connsiteY9" fmla="*/ 1 h 5242450"/>
                <a:gd name="connsiteX10" fmla="*/ 207370 w 8364805"/>
                <a:gd name="connsiteY10" fmla="*/ 1 h 5242450"/>
                <a:gd name="connsiteX11" fmla="*/ 207370 w 8364805"/>
                <a:gd name="connsiteY11" fmla="*/ 2 h 5242450"/>
                <a:gd name="connsiteX12" fmla="*/ 211080 w 8364805"/>
                <a:gd name="connsiteY12" fmla="*/ 2 h 5242450"/>
                <a:gd name="connsiteX13" fmla="*/ 211080 w 8364805"/>
                <a:gd name="connsiteY13" fmla="*/ 0 h 5242450"/>
                <a:gd name="connsiteX0" fmla="*/ 211080 w 8364962"/>
                <a:gd name="connsiteY0" fmla="*/ 0 h 5262770"/>
                <a:gd name="connsiteX1" fmla="*/ 8364512 w 8364962"/>
                <a:gd name="connsiteY1" fmla="*/ 0 h 5262770"/>
                <a:gd name="connsiteX2" fmla="*/ 8364512 w 8364962"/>
                <a:gd name="connsiteY2" fmla="*/ 1404013 h 5262770"/>
                <a:gd name="connsiteX3" fmla="*/ 8354352 w 8364962"/>
                <a:gd name="connsiteY3" fmla="*/ 5262770 h 5262770"/>
                <a:gd name="connsiteX4" fmla="*/ 3418081 w 8364962"/>
                <a:gd name="connsiteY4" fmla="*/ 5242450 h 5262770"/>
                <a:gd name="connsiteX5" fmla="*/ 3397761 w 8364962"/>
                <a:gd name="connsiteY5" fmla="*/ 1414173 h 5262770"/>
                <a:gd name="connsiteX6" fmla="*/ 1777003 w 8364962"/>
                <a:gd name="connsiteY6" fmla="*/ 1414176 h 5262770"/>
                <a:gd name="connsiteX7" fmla="*/ 1782170 w 8364962"/>
                <a:gd name="connsiteY7" fmla="*/ 5232292 h 5262770"/>
                <a:gd name="connsiteX8" fmla="*/ 0 w 8364962"/>
                <a:gd name="connsiteY8" fmla="*/ 5232292 h 5262770"/>
                <a:gd name="connsiteX9" fmla="*/ 0 w 8364962"/>
                <a:gd name="connsiteY9" fmla="*/ 1 h 5262770"/>
                <a:gd name="connsiteX10" fmla="*/ 207370 w 8364962"/>
                <a:gd name="connsiteY10" fmla="*/ 1 h 5262770"/>
                <a:gd name="connsiteX11" fmla="*/ 207370 w 8364962"/>
                <a:gd name="connsiteY11" fmla="*/ 2 h 5262770"/>
                <a:gd name="connsiteX12" fmla="*/ 211080 w 8364962"/>
                <a:gd name="connsiteY12" fmla="*/ 2 h 5262770"/>
                <a:gd name="connsiteX13" fmla="*/ 211080 w 8364962"/>
                <a:gd name="connsiteY13" fmla="*/ 0 h 5262770"/>
                <a:gd name="connsiteX0" fmla="*/ 211080 w 8364962"/>
                <a:gd name="connsiteY0" fmla="*/ 0 h 5262770"/>
                <a:gd name="connsiteX1" fmla="*/ 8364512 w 8364962"/>
                <a:gd name="connsiteY1" fmla="*/ 0 h 5262770"/>
                <a:gd name="connsiteX2" fmla="*/ 8364512 w 8364962"/>
                <a:gd name="connsiteY2" fmla="*/ 1404013 h 5262770"/>
                <a:gd name="connsiteX3" fmla="*/ 8354352 w 8364962"/>
                <a:gd name="connsiteY3" fmla="*/ 5262770 h 5262770"/>
                <a:gd name="connsiteX4" fmla="*/ 3418081 w 8364962"/>
                <a:gd name="connsiteY4" fmla="*/ 5242450 h 5262770"/>
                <a:gd name="connsiteX5" fmla="*/ 3397761 w 8364962"/>
                <a:gd name="connsiteY5" fmla="*/ 1414173 h 5262770"/>
                <a:gd name="connsiteX6" fmla="*/ 1777003 w 8364962"/>
                <a:gd name="connsiteY6" fmla="*/ 1414176 h 5262770"/>
                <a:gd name="connsiteX7" fmla="*/ 1782170 w 8364962"/>
                <a:gd name="connsiteY7" fmla="*/ 5232292 h 5262770"/>
                <a:gd name="connsiteX8" fmla="*/ 0 w 8364962"/>
                <a:gd name="connsiteY8" fmla="*/ 5232292 h 5262770"/>
                <a:gd name="connsiteX9" fmla="*/ 0 w 8364962"/>
                <a:gd name="connsiteY9" fmla="*/ 1 h 5262770"/>
                <a:gd name="connsiteX10" fmla="*/ 207370 w 8364962"/>
                <a:gd name="connsiteY10" fmla="*/ 1 h 5262770"/>
                <a:gd name="connsiteX11" fmla="*/ 207370 w 8364962"/>
                <a:gd name="connsiteY11" fmla="*/ 2 h 5262770"/>
                <a:gd name="connsiteX12" fmla="*/ 211080 w 8364962"/>
                <a:gd name="connsiteY12" fmla="*/ 2 h 5262770"/>
                <a:gd name="connsiteX13" fmla="*/ 211080 w 8364962"/>
                <a:gd name="connsiteY13" fmla="*/ 0 h 5262770"/>
                <a:gd name="connsiteX0" fmla="*/ 211080 w 8364512"/>
                <a:gd name="connsiteY0" fmla="*/ 0 h 5262770"/>
                <a:gd name="connsiteX1" fmla="*/ 8364512 w 8364512"/>
                <a:gd name="connsiteY1" fmla="*/ 0 h 5262770"/>
                <a:gd name="connsiteX2" fmla="*/ 8354352 w 8364512"/>
                <a:gd name="connsiteY2" fmla="*/ 5262770 h 5262770"/>
                <a:gd name="connsiteX3" fmla="*/ 3418081 w 8364512"/>
                <a:gd name="connsiteY3" fmla="*/ 5242450 h 5262770"/>
                <a:gd name="connsiteX4" fmla="*/ 3397761 w 8364512"/>
                <a:gd name="connsiteY4" fmla="*/ 1414173 h 5262770"/>
                <a:gd name="connsiteX5" fmla="*/ 1777003 w 8364512"/>
                <a:gd name="connsiteY5" fmla="*/ 1414176 h 5262770"/>
                <a:gd name="connsiteX6" fmla="*/ 1782170 w 8364512"/>
                <a:gd name="connsiteY6" fmla="*/ 5232292 h 5262770"/>
                <a:gd name="connsiteX7" fmla="*/ 0 w 8364512"/>
                <a:gd name="connsiteY7" fmla="*/ 5232292 h 5262770"/>
                <a:gd name="connsiteX8" fmla="*/ 0 w 8364512"/>
                <a:gd name="connsiteY8" fmla="*/ 1 h 5262770"/>
                <a:gd name="connsiteX9" fmla="*/ 207370 w 8364512"/>
                <a:gd name="connsiteY9" fmla="*/ 1 h 5262770"/>
                <a:gd name="connsiteX10" fmla="*/ 207370 w 8364512"/>
                <a:gd name="connsiteY10" fmla="*/ 2 h 5262770"/>
                <a:gd name="connsiteX11" fmla="*/ 211080 w 8364512"/>
                <a:gd name="connsiteY11" fmla="*/ 2 h 5262770"/>
                <a:gd name="connsiteX12" fmla="*/ 211080 w 8364512"/>
                <a:gd name="connsiteY12" fmla="*/ 0 h 5262770"/>
                <a:gd name="connsiteX0" fmla="*/ 211080 w 8364512"/>
                <a:gd name="connsiteY0" fmla="*/ 0 h 5244482"/>
                <a:gd name="connsiteX1" fmla="*/ 8364512 w 8364512"/>
                <a:gd name="connsiteY1" fmla="*/ 0 h 5244482"/>
                <a:gd name="connsiteX2" fmla="*/ 8336064 w 8364512"/>
                <a:gd name="connsiteY2" fmla="*/ 5244482 h 5244482"/>
                <a:gd name="connsiteX3" fmla="*/ 3418081 w 8364512"/>
                <a:gd name="connsiteY3" fmla="*/ 5242450 h 5244482"/>
                <a:gd name="connsiteX4" fmla="*/ 3397761 w 8364512"/>
                <a:gd name="connsiteY4" fmla="*/ 1414173 h 5244482"/>
                <a:gd name="connsiteX5" fmla="*/ 1777003 w 8364512"/>
                <a:gd name="connsiteY5" fmla="*/ 1414176 h 5244482"/>
                <a:gd name="connsiteX6" fmla="*/ 1782170 w 8364512"/>
                <a:gd name="connsiteY6" fmla="*/ 5232292 h 5244482"/>
                <a:gd name="connsiteX7" fmla="*/ 0 w 8364512"/>
                <a:gd name="connsiteY7" fmla="*/ 5232292 h 5244482"/>
                <a:gd name="connsiteX8" fmla="*/ 0 w 8364512"/>
                <a:gd name="connsiteY8" fmla="*/ 1 h 5244482"/>
                <a:gd name="connsiteX9" fmla="*/ 207370 w 8364512"/>
                <a:gd name="connsiteY9" fmla="*/ 1 h 5244482"/>
                <a:gd name="connsiteX10" fmla="*/ 207370 w 8364512"/>
                <a:gd name="connsiteY10" fmla="*/ 2 h 5244482"/>
                <a:gd name="connsiteX11" fmla="*/ 211080 w 8364512"/>
                <a:gd name="connsiteY11" fmla="*/ 2 h 5244482"/>
                <a:gd name="connsiteX12" fmla="*/ 211080 w 8364512"/>
                <a:gd name="connsiteY12" fmla="*/ 0 h 5244482"/>
                <a:gd name="connsiteX0" fmla="*/ 211080 w 8364512"/>
                <a:gd name="connsiteY0" fmla="*/ 0 h 5253626"/>
                <a:gd name="connsiteX1" fmla="*/ 8364512 w 8364512"/>
                <a:gd name="connsiteY1" fmla="*/ 0 h 5253626"/>
                <a:gd name="connsiteX2" fmla="*/ 8336064 w 8364512"/>
                <a:gd name="connsiteY2" fmla="*/ 5253626 h 5253626"/>
                <a:gd name="connsiteX3" fmla="*/ 3418081 w 8364512"/>
                <a:gd name="connsiteY3" fmla="*/ 5242450 h 5253626"/>
                <a:gd name="connsiteX4" fmla="*/ 3397761 w 8364512"/>
                <a:gd name="connsiteY4" fmla="*/ 1414173 h 5253626"/>
                <a:gd name="connsiteX5" fmla="*/ 1777003 w 8364512"/>
                <a:gd name="connsiteY5" fmla="*/ 1414176 h 5253626"/>
                <a:gd name="connsiteX6" fmla="*/ 1782170 w 8364512"/>
                <a:gd name="connsiteY6" fmla="*/ 5232292 h 5253626"/>
                <a:gd name="connsiteX7" fmla="*/ 0 w 8364512"/>
                <a:gd name="connsiteY7" fmla="*/ 5232292 h 5253626"/>
                <a:gd name="connsiteX8" fmla="*/ 0 w 8364512"/>
                <a:gd name="connsiteY8" fmla="*/ 1 h 5253626"/>
                <a:gd name="connsiteX9" fmla="*/ 207370 w 8364512"/>
                <a:gd name="connsiteY9" fmla="*/ 1 h 5253626"/>
                <a:gd name="connsiteX10" fmla="*/ 207370 w 8364512"/>
                <a:gd name="connsiteY10" fmla="*/ 2 h 5253626"/>
                <a:gd name="connsiteX11" fmla="*/ 211080 w 8364512"/>
                <a:gd name="connsiteY11" fmla="*/ 2 h 5253626"/>
                <a:gd name="connsiteX12" fmla="*/ 211080 w 8364512"/>
                <a:gd name="connsiteY12" fmla="*/ 0 h 5253626"/>
                <a:gd name="connsiteX0" fmla="*/ 211080 w 8364512"/>
                <a:gd name="connsiteY0" fmla="*/ 0 h 5253626"/>
                <a:gd name="connsiteX1" fmla="*/ 8364512 w 8364512"/>
                <a:gd name="connsiteY1" fmla="*/ 0 h 5253626"/>
                <a:gd name="connsiteX2" fmla="*/ 8345208 w 8364512"/>
                <a:gd name="connsiteY2" fmla="*/ 5253626 h 5253626"/>
                <a:gd name="connsiteX3" fmla="*/ 3418081 w 8364512"/>
                <a:gd name="connsiteY3" fmla="*/ 5242450 h 5253626"/>
                <a:gd name="connsiteX4" fmla="*/ 3397761 w 8364512"/>
                <a:gd name="connsiteY4" fmla="*/ 1414173 h 5253626"/>
                <a:gd name="connsiteX5" fmla="*/ 1777003 w 8364512"/>
                <a:gd name="connsiteY5" fmla="*/ 1414176 h 5253626"/>
                <a:gd name="connsiteX6" fmla="*/ 1782170 w 8364512"/>
                <a:gd name="connsiteY6" fmla="*/ 5232292 h 5253626"/>
                <a:gd name="connsiteX7" fmla="*/ 0 w 8364512"/>
                <a:gd name="connsiteY7" fmla="*/ 5232292 h 5253626"/>
                <a:gd name="connsiteX8" fmla="*/ 0 w 8364512"/>
                <a:gd name="connsiteY8" fmla="*/ 1 h 5253626"/>
                <a:gd name="connsiteX9" fmla="*/ 207370 w 8364512"/>
                <a:gd name="connsiteY9" fmla="*/ 1 h 5253626"/>
                <a:gd name="connsiteX10" fmla="*/ 207370 w 8364512"/>
                <a:gd name="connsiteY10" fmla="*/ 2 h 5253626"/>
                <a:gd name="connsiteX11" fmla="*/ 211080 w 8364512"/>
                <a:gd name="connsiteY11" fmla="*/ 2 h 5253626"/>
                <a:gd name="connsiteX12" fmla="*/ 211080 w 8364512"/>
                <a:gd name="connsiteY12" fmla="*/ 0 h 5253626"/>
                <a:gd name="connsiteX0" fmla="*/ 220224 w 8373656"/>
                <a:gd name="connsiteY0" fmla="*/ 0 h 5253626"/>
                <a:gd name="connsiteX1" fmla="*/ 8373656 w 8373656"/>
                <a:gd name="connsiteY1" fmla="*/ 0 h 5253626"/>
                <a:gd name="connsiteX2" fmla="*/ 8354352 w 8373656"/>
                <a:gd name="connsiteY2" fmla="*/ 5253626 h 5253626"/>
                <a:gd name="connsiteX3" fmla="*/ 3427225 w 8373656"/>
                <a:gd name="connsiteY3" fmla="*/ 5242450 h 5253626"/>
                <a:gd name="connsiteX4" fmla="*/ 3406905 w 8373656"/>
                <a:gd name="connsiteY4" fmla="*/ 1414173 h 5253626"/>
                <a:gd name="connsiteX5" fmla="*/ 1786147 w 8373656"/>
                <a:gd name="connsiteY5" fmla="*/ 1414176 h 5253626"/>
                <a:gd name="connsiteX6" fmla="*/ 1791314 w 8373656"/>
                <a:gd name="connsiteY6" fmla="*/ 5232292 h 5253626"/>
                <a:gd name="connsiteX7" fmla="*/ 9144 w 8373656"/>
                <a:gd name="connsiteY7" fmla="*/ 5232292 h 5253626"/>
                <a:gd name="connsiteX8" fmla="*/ 0 w 8373656"/>
                <a:gd name="connsiteY8" fmla="*/ 1 h 5253626"/>
                <a:gd name="connsiteX9" fmla="*/ 216514 w 8373656"/>
                <a:gd name="connsiteY9" fmla="*/ 1 h 5253626"/>
                <a:gd name="connsiteX10" fmla="*/ 216514 w 8373656"/>
                <a:gd name="connsiteY10" fmla="*/ 2 h 5253626"/>
                <a:gd name="connsiteX11" fmla="*/ 220224 w 8373656"/>
                <a:gd name="connsiteY11" fmla="*/ 2 h 5253626"/>
                <a:gd name="connsiteX12" fmla="*/ 220224 w 8373656"/>
                <a:gd name="connsiteY12" fmla="*/ 0 h 5253626"/>
                <a:gd name="connsiteX0" fmla="*/ 211080 w 8364512"/>
                <a:gd name="connsiteY0" fmla="*/ 0 h 5253626"/>
                <a:gd name="connsiteX1" fmla="*/ 8364512 w 8364512"/>
                <a:gd name="connsiteY1" fmla="*/ 0 h 5253626"/>
                <a:gd name="connsiteX2" fmla="*/ 8345208 w 8364512"/>
                <a:gd name="connsiteY2" fmla="*/ 5253626 h 5253626"/>
                <a:gd name="connsiteX3" fmla="*/ 3418081 w 8364512"/>
                <a:gd name="connsiteY3" fmla="*/ 5242450 h 5253626"/>
                <a:gd name="connsiteX4" fmla="*/ 3397761 w 8364512"/>
                <a:gd name="connsiteY4" fmla="*/ 1414173 h 5253626"/>
                <a:gd name="connsiteX5" fmla="*/ 1777003 w 8364512"/>
                <a:gd name="connsiteY5" fmla="*/ 1414176 h 5253626"/>
                <a:gd name="connsiteX6" fmla="*/ 1782170 w 8364512"/>
                <a:gd name="connsiteY6" fmla="*/ 5232292 h 5253626"/>
                <a:gd name="connsiteX7" fmla="*/ 0 w 8364512"/>
                <a:gd name="connsiteY7" fmla="*/ 5232292 h 5253626"/>
                <a:gd name="connsiteX8" fmla="*/ 207370 w 8364512"/>
                <a:gd name="connsiteY8" fmla="*/ 1 h 5253626"/>
                <a:gd name="connsiteX9" fmla="*/ 207370 w 8364512"/>
                <a:gd name="connsiteY9" fmla="*/ 2 h 5253626"/>
                <a:gd name="connsiteX10" fmla="*/ 211080 w 8364512"/>
                <a:gd name="connsiteY10" fmla="*/ 2 h 5253626"/>
                <a:gd name="connsiteX11" fmla="*/ 211080 w 8364512"/>
                <a:gd name="connsiteY11" fmla="*/ 0 h 5253626"/>
                <a:gd name="connsiteX0" fmla="*/ 467112 w 8364512"/>
                <a:gd name="connsiteY0" fmla="*/ 0 h 5262770"/>
                <a:gd name="connsiteX1" fmla="*/ 8364512 w 8364512"/>
                <a:gd name="connsiteY1" fmla="*/ 9144 h 5262770"/>
                <a:gd name="connsiteX2" fmla="*/ 8345208 w 8364512"/>
                <a:gd name="connsiteY2" fmla="*/ 5262770 h 5262770"/>
                <a:gd name="connsiteX3" fmla="*/ 3418081 w 8364512"/>
                <a:gd name="connsiteY3" fmla="*/ 5251594 h 5262770"/>
                <a:gd name="connsiteX4" fmla="*/ 3397761 w 8364512"/>
                <a:gd name="connsiteY4" fmla="*/ 1423317 h 5262770"/>
                <a:gd name="connsiteX5" fmla="*/ 1777003 w 8364512"/>
                <a:gd name="connsiteY5" fmla="*/ 1423320 h 5262770"/>
                <a:gd name="connsiteX6" fmla="*/ 1782170 w 8364512"/>
                <a:gd name="connsiteY6" fmla="*/ 5241436 h 5262770"/>
                <a:gd name="connsiteX7" fmla="*/ 0 w 8364512"/>
                <a:gd name="connsiteY7" fmla="*/ 5241436 h 5262770"/>
                <a:gd name="connsiteX8" fmla="*/ 207370 w 8364512"/>
                <a:gd name="connsiteY8" fmla="*/ 9145 h 5262770"/>
                <a:gd name="connsiteX9" fmla="*/ 207370 w 8364512"/>
                <a:gd name="connsiteY9" fmla="*/ 9146 h 5262770"/>
                <a:gd name="connsiteX10" fmla="*/ 211080 w 8364512"/>
                <a:gd name="connsiteY10" fmla="*/ 9146 h 5262770"/>
                <a:gd name="connsiteX11" fmla="*/ 467112 w 8364512"/>
                <a:gd name="connsiteY11" fmla="*/ 0 h 5262770"/>
                <a:gd name="connsiteX0" fmla="*/ 467112 w 8364512"/>
                <a:gd name="connsiteY0" fmla="*/ 0 h 5262770"/>
                <a:gd name="connsiteX1" fmla="*/ 8364512 w 8364512"/>
                <a:gd name="connsiteY1" fmla="*/ 9144 h 5262770"/>
                <a:gd name="connsiteX2" fmla="*/ 8345208 w 8364512"/>
                <a:gd name="connsiteY2" fmla="*/ 5262770 h 5262770"/>
                <a:gd name="connsiteX3" fmla="*/ 3418081 w 8364512"/>
                <a:gd name="connsiteY3" fmla="*/ 5251594 h 5262770"/>
                <a:gd name="connsiteX4" fmla="*/ 3397761 w 8364512"/>
                <a:gd name="connsiteY4" fmla="*/ 1423317 h 5262770"/>
                <a:gd name="connsiteX5" fmla="*/ 1777003 w 8364512"/>
                <a:gd name="connsiteY5" fmla="*/ 1423320 h 5262770"/>
                <a:gd name="connsiteX6" fmla="*/ 1782170 w 8364512"/>
                <a:gd name="connsiteY6" fmla="*/ 5241436 h 5262770"/>
                <a:gd name="connsiteX7" fmla="*/ 0 w 8364512"/>
                <a:gd name="connsiteY7" fmla="*/ 5241436 h 5262770"/>
                <a:gd name="connsiteX8" fmla="*/ 207370 w 8364512"/>
                <a:gd name="connsiteY8" fmla="*/ 9145 h 5262770"/>
                <a:gd name="connsiteX9" fmla="*/ 207370 w 8364512"/>
                <a:gd name="connsiteY9" fmla="*/ 9146 h 5262770"/>
                <a:gd name="connsiteX10" fmla="*/ 659136 w 8364512"/>
                <a:gd name="connsiteY10" fmla="*/ 109730 h 5262770"/>
                <a:gd name="connsiteX11" fmla="*/ 467112 w 8364512"/>
                <a:gd name="connsiteY11" fmla="*/ 0 h 5262770"/>
                <a:gd name="connsiteX0" fmla="*/ 467112 w 8364512"/>
                <a:gd name="connsiteY0" fmla="*/ 0 h 5262770"/>
                <a:gd name="connsiteX1" fmla="*/ 8364512 w 8364512"/>
                <a:gd name="connsiteY1" fmla="*/ 9144 h 5262770"/>
                <a:gd name="connsiteX2" fmla="*/ 8345208 w 8364512"/>
                <a:gd name="connsiteY2" fmla="*/ 5262770 h 5262770"/>
                <a:gd name="connsiteX3" fmla="*/ 3418081 w 8364512"/>
                <a:gd name="connsiteY3" fmla="*/ 5251594 h 5262770"/>
                <a:gd name="connsiteX4" fmla="*/ 3397761 w 8364512"/>
                <a:gd name="connsiteY4" fmla="*/ 1423317 h 5262770"/>
                <a:gd name="connsiteX5" fmla="*/ 1777003 w 8364512"/>
                <a:gd name="connsiteY5" fmla="*/ 1423320 h 5262770"/>
                <a:gd name="connsiteX6" fmla="*/ 1782170 w 8364512"/>
                <a:gd name="connsiteY6" fmla="*/ 5241436 h 5262770"/>
                <a:gd name="connsiteX7" fmla="*/ 0 w 8364512"/>
                <a:gd name="connsiteY7" fmla="*/ 5241436 h 5262770"/>
                <a:gd name="connsiteX8" fmla="*/ 207370 w 8364512"/>
                <a:gd name="connsiteY8" fmla="*/ 9145 h 5262770"/>
                <a:gd name="connsiteX9" fmla="*/ 207370 w 8364512"/>
                <a:gd name="connsiteY9" fmla="*/ 9146 h 5262770"/>
                <a:gd name="connsiteX10" fmla="*/ 467112 w 8364512"/>
                <a:gd name="connsiteY10" fmla="*/ 0 h 5262770"/>
                <a:gd name="connsiteX0" fmla="*/ 207370 w 8364512"/>
                <a:gd name="connsiteY0" fmla="*/ 2 h 5253626"/>
                <a:gd name="connsiteX1" fmla="*/ 8364512 w 8364512"/>
                <a:gd name="connsiteY1" fmla="*/ 0 h 5253626"/>
                <a:gd name="connsiteX2" fmla="*/ 8345208 w 8364512"/>
                <a:gd name="connsiteY2" fmla="*/ 5253626 h 5253626"/>
                <a:gd name="connsiteX3" fmla="*/ 3418081 w 8364512"/>
                <a:gd name="connsiteY3" fmla="*/ 5242450 h 5253626"/>
                <a:gd name="connsiteX4" fmla="*/ 3397761 w 8364512"/>
                <a:gd name="connsiteY4" fmla="*/ 1414173 h 5253626"/>
                <a:gd name="connsiteX5" fmla="*/ 1777003 w 8364512"/>
                <a:gd name="connsiteY5" fmla="*/ 1414176 h 5253626"/>
                <a:gd name="connsiteX6" fmla="*/ 1782170 w 8364512"/>
                <a:gd name="connsiteY6" fmla="*/ 5232292 h 5253626"/>
                <a:gd name="connsiteX7" fmla="*/ 0 w 8364512"/>
                <a:gd name="connsiteY7" fmla="*/ 5232292 h 5253626"/>
                <a:gd name="connsiteX8" fmla="*/ 207370 w 8364512"/>
                <a:gd name="connsiteY8" fmla="*/ 1 h 5253626"/>
                <a:gd name="connsiteX9" fmla="*/ 207370 w 8364512"/>
                <a:gd name="connsiteY9" fmla="*/ 2 h 5253626"/>
                <a:gd name="connsiteX0" fmla="*/ 445114 w 8364512"/>
                <a:gd name="connsiteY0" fmla="*/ 9146 h 5253626"/>
                <a:gd name="connsiteX1" fmla="*/ 8364512 w 8364512"/>
                <a:gd name="connsiteY1" fmla="*/ 0 h 5253626"/>
                <a:gd name="connsiteX2" fmla="*/ 8345208 w 8364512"/>
                <a:gd name="connsiteY2" fmla="*/ 5253626 h 5253626"/>
                <a:gd name="connsiteX3" fmla="*/ 3418081 w 8364512"/>
                <a:gd name="connsiteY3" fmla="*/ 5242450 h 5253626"/>
                <a:gd name="connsiteX4" fmla="*/ 3397761 w 8364512"/>
                <a:gd name="connsiteY4" fmla="*/ 1414173 h 5253626"/>
                <a:gd name="connsiteX5" fmla="*/ 1777003 w 8364512"/>
                <a:gd name="connsiteY5" fmla="*/ 1414176 h 5253626"/>
                <a:gd name="connsiteX6" fmla="*/ 1782170 w 8364512"/>
                <a:gd name="connsiteY6" fmla="*/ 5232292 h 5253626"/>
                <a:gd name="connsiteX7" fmla="*/ 0 w 8364512"/>
                <a:gd name="connsiteY7" fmla="*/ 5232292 h 5253626"/>
                <a:gd name="connsiteX8" fmla="*/ 207370 w 8364512"/>
                <a:gd name="connsiteY8" fmla="*/ 1 h 5253626"/>
                <a:gd name="connsiteX9" fmla="*/ 445114 w 8364512"/>
                <a:gd name="connsiteY9" fmla="*/ 9146 h 5253626"/>
                <a:gd name="connsiteX0" fmla="*/ 207370 w 8364512"/>
                <a:gd name="connsiteY0" fmla="*/ 1 h 5253626"/>
                <a:gd name="connsiteX1" fmla="*/ 8364512 w 8364512"/>
                <a:gd name="connsiteY1" fmla="*/ 0 h 5253626"/>
                <a:gd name="connsiteX2" fmla="*/ 8345208 w 8364512"/>
                <a:gd name="connsiteY2" fmla="*/ 5253626 h 5253626"/>
                <a:gd name="connsiteX3" fmla="*/ 3418081 w 8364512"/>
                <a:gd name="connsiteY3" fmla="*/ 5242450 h 5253626"/>
                <a:gd name="connsiteX4" fmla="*/ 3397761 w 8364512"/>
                <a:gd name="connsiteY4" fmla="*/ 1414173 h 5253626"/>
                <a:gd name="connsiteX5" fmla="*/ 1777003 w 8364512"/>
                <a:gd name="connsiteY5" fmla="*/ 1414176 h 5253626"/>
                <a:gd name="connsiteX6" fmla="*/ 1782170 w 8364512"/>
                <a:gd name="connsiteY6" fmla="*/ 5232292 h 5253626"/>
                <a:gd name="connsiteX7" fmla="*/ 0 w 8364512"/>
                <a:gd name="connsiteY7" fmla="*/ 5232292 h 5253626"/>
                <a:gd name="connsiteX8" fmla="*/ 207370 w 8364512"/>
                <a:gd name="connsiteY8" fmla="*/ 1 h 5253626"/>
                <a:gd name="connsiteX0" fmla="*/ 0 w 8376598"/>
                <a:gd name="connsiteY0" fmla="*/ 9145 h 5253626"/>
                <a:gd name="connsiteX1" fmla="*/ 8376598 w 8376598"/>
                <a:gd name="connsiteY1" fmla="*/ 0 h 5253626"/>
                <a:gd name="connsiteX2" fmla="*/ 8357294 w 8376598"/>
                <a:gd name="connsiteY2" fmla="*/ 5253626 h 5253626"/>
                <a:gd name="connsiteX3" fmla="*/ 3430167 w 8376598"/>
                <a:gd name="connsiteY3" fmla="*/ 5242450 h 5253626"/>
                <a:gd name="connsiteX4" fmla="*/ 3409847 w 8376598"/>
                <a:gd name="connsiteY4" fmla="*/ 1414173 h 5253626"/>
                <a:gd name="connsiteX5" fmla="*/ 1789089 w 8376598"/>
                <a:gd name="connsiteY5" fmla="*/ 1414176 h 5253626"/>
                <a:gd name="connsiteX6" fmla="*/ 1794256 w 8376598"/>
                <a:gd name="connsiteY6" fmla="*/ 5232292 h 5253626"/>
                <a:gd name="connsiteX7" fmla="*/ 12086 w 8376598"/>
                <a:gd name="connsiteY7" fmla="*/ 5232292 h 5253626"/>
                <a:gd name="connsiteX8" fmla="*/ 0 w 8376598"/>
                <a:gd name="connsiteY8" fmla="*/ 9145 h 5253626"/>
                <a:gd name="connsiteX0" fmla="*/ 0 w 8376598"/>
                <a:gd name="connsiteY0" fmla="*/ 9145 h 5253626"/>
                <a:gd name="connsiteX1" fmla="*/ 8376598 w 8376598"/>
                <a:gd name="connsiteY1" fmla="*/ 0 h 5253626"/>
                <a:gd name="connsiteX2" fmla="*/ 8357294 w 8376598"/>
                <a:gd name="connsiteY2" fmla="*/ 5253626 h 5253626"/>
                <a:gd name="connsiteX3" fmla="*/ 3430167 w 8376598"/>
                <a:gd name="connsiteY3" fmla="*/ 5242450 h 5253626"/>
                <a:gd name="connsiteX4" fmla="*/ 3409847 w 8376598"/>
                <a:gd name="connsiteY4" fmla="*/ 1414173 h 5253626"/>
                <a:gd name="connsiteX5" fmla="*/ 1789089 w 8376598"/>
                <a:gd name="connsiteY5" fmla="*/ 1414176 h 5253626"/>
                <a:gd name="connsiteX6" fmla="*/ 1794256 w 8376598"/>
                <a:gd name="connsiteY6" fmla="*/ 5232292 h 5253626"/>
                <a:gd name="connsiteX7" fmla="*/ 12086 w 8376598"/>
                <a:gd name="connsiteY7" fmla="*/ 5232292 h 5253626"/>
                <a:gd name="connsiteX8" fmla="*/ 0 w 8376598"/>
                <a:gd name="connsiteY8" fmla="*/ 9145 h 5253626"/>
                <a:gd name="connsiteX0" fmla="*/ 0 w 8376598"/>
                <a:gd name="connsiteY0" fmla="*/ 9145 h 5253626"/>
                <a:gd name="connsiteX1" fmla="*/ 8376598 w 8376598"/>
                <a:gd name="connsiteY1" fmla="*/ 0 h 5253626"/>
                <a:gd name="connsiteX2" fmla="*/ 8357294 w 8376598"/>
                <a:gd name="connsiteY2" fmla="*/ 5253626 h 5253626"/>
                <a:gd name="connsiteX3" fmla="*/ 3430167 w 8376598"/>
                <a:gd name="connsiteY3" fmla="*/ 5242450 h 5253626"/>
                <a:gd name="connsiteX4" fmla="*/ 3409847 w 8376598"/>
                <a:gd name="connsiteY4" fmla="*/ 1414173 h 5253626"/>
                <a:gd name="connsiteX5" fmla="*/ 1789089 w 8376598"/>
                <a:gd name="connsiteY5" fmla="*/ 1414176 h 5253626"/>
                <a:gd name="connsiteX6" fmla="*/ 1794256 w 8376598"/>
                <a:gd name="connsiteY6" fmla="*/ 5232292 h 5253626"/>
                <a:gd name="connsiteX7" fmla="*/ 2942 w 8376598"/>
                <a:gd name="connsiteY7" fmla="*/ 5241436 h 5253626"/>
                <a:gd name="connsiteX8" fmla="*/ 0 w 8376598"/>
                <a:gd name="connsiteY8" fmla="*/ 9145 h 5253626"/>
                <a:gd name="connsiteX0" fmla="*/ 0 w 8376598"/>
                <a:gd name="connsiteY0" fmla="*/ 9145 h 5253626"/>
                <a:gd name="connsiteX1" fmla="*/ 8376598 w 8376598"/>
                <a:gd name="connsiteY1" fmla="*/ 0 h 5253626"/>
                <a:gd name="connsiteX2" fmla="*/ 8357294 w 8376598"/>
                <a:gd name="connsiteY2" fmla="*/ 5253626 h 5253626"/>
                <a:gd name="connsiteX3" fmla="*/ 3430167 w 8376598"/>
                <a:gd name="connsiteY3" fmla="*/ 5242450 h 5253626"/>
                <a:gd name="connsiteX4" fmla="*/ 3409847 w 8376598"/>
                <a:gd name="connsiteY4" fmla="*/ 1414173 h 5253626"/>
                <a:gd name="connsiteX5" fmla="*/ 1789089 w 8376598"/>
                <a:gd name="connsiteY5" fmla="*/ 1414176 h 5253626"/>
                <a:gd name="connsiteX6" fmla="*/ 1794256 w 8376598"/>
                <a:gd name="connsiteY6" fmla="*/ 5241436 h 5253626"/>
                <a:gd name="connsiteX7" fmla="*/ 2942 w 8376598"/>
                <a:gd name="connsiteY7" fmla="*/ 5241436 h 5253626"/>
                <a:gd name="connsiteX8" fmla="*/ 0 w 8376598"/>
                <a:gd name="connsiteY8" fmla="*/ 9145 h 5253626"/>
                <a:gd name="connsiteX0" fmla="*/ 0 w 8381119"/>
                <a:gd name="connsiteY0" fmla="*/ 9145 h 5265200"/>
                <a:gd name="connsiteX1" fmla="*/ 8376598 w 8381119"/>
                <a:gd name="connsiteY1" fmla="*/ 0 h 5265200"/>
                <a:gd name="connsiteX2" fmla="*/ 8380444 w 8381119"/>
                <a:gd name="connsiteY2" fmla="*/ 5265200 h 5265200"/>
                <a:gd name="connsiteX3" fmla="*/ 3430167 w 8381119"/>
                <a:gd name="connsiteY3" fmla="*/ 5242450 h 5265200"/>
                <a:gd name="connsiteX4" fmla="*/ 3409847 w 8381119"/>
                <a:gd name="connsiteY4" fmla="*/ 1414173 h 5265200"/>
                <a:gd name="connsiteX5" fmla="*/ 1789089 w 8381119"/>
                <a:gd name="connsiteY5" fmla="*/ 1414176 h 5265200"/>
                <a:gd name="connsiteX6" fmla="*/ 1794256 w 8381119"/>
                <a:gd name="connsiteY6" fmla="*/ 5241436 h 5265200"/>
                <a:gd name="connsiteX7" fmla="*/ 2942 w 8381119"/>
                <a:gd name="connsiteY7" fmla="*/ 5241436 h 5265200"/>
                <a:gd name="connsiteX8" fmla="*/ 0 w 8381119"/>
                <a:gd name="connsiteY8" fmla="*/ 9145 h 5265200"/>
                <a:gd name="connsiteX0" fmla="*/ 0 w 8376598"/>
                <a:gd name="connsiteY0" fmla="*/ 9145 h 5253626"/>
                <a:gd name="connsiteX1" fmla="*/ 8376598 w 8376598"/>
                <a:gd name="connsiteY1" fmla="*/ 0 h 5253626"/>
                <a:gd name="connsiteX2" fmla="*/ 8368869 w 8376598"/>
                <a:gd name="connsiteY2" fmla="*/ 5253626 h 5253626"/>
                <a:gd name="connsiteX3" fmla="*/ 3430167 w 8376598"/>
                <a:gd name="connsiteY3" fmla="*/ 5242450 h 5253626"/>
                <a:gd name="connsiteX4" fmla="*/ 3409847 w 8376598"/>
                <a:gd name="connsiteY4" fmla="*/ 1414173 h 5253626"/>
                <a:gd name="connsiteX5" fmla="*/ 1789089 w 8376598"/>
                <a:gd name="connsiteY5" fmla="*/ 1414176 h 5253626"/>
                <a:gd name="connsiteX6" fmla="*/ 1794256 w 8376598"/>
                <a:gd name="connsiteY6" fmla="*/ 5241436 h 5253626"/>
                <a:gd name="connsiteX7" fmla="*/ 2942 w 8376598"/>
                <a:gd name="connsiteY7" fmla="*/ 5241436 h 5253626"/>
                <a:gd name="connsiteX8" fmla="*/ 0 w 8376598"/>
                <a:gd name="connsiteY8" fmla="*/ 9145 h 5253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76598" h="5253626">
                  <a:moveTo>
                    <a:pt x="0" y="9145"/>
                  </a:moveTo>
                  <a:lnTo>
                    <a:pt x="8376598" y="0"/>
                  </a:lnTo>
                  <a:cubicBezTo>
                    <a:pt x="8373211" y="1754257"/>
                    <a:pt x="8372256" y="3499369"/>
                    <a:pt x="8368869" y="5253626"/>
                  </a:cubicBezTo>
                  <a:lnTo>
                    <a:pt x="3430167" y="5242450"/>
                  </a:lnTo>
                  <a:cubicBezTo>
                    <a:pt x="3426780" y="3973131"/>
                    <a:pt x="3413234" y="2683492"/>
                    <a:pt x="3409847" y="1414173"/>
                  </a:cubicBezTo>
                  <a:lnTo>
                    <a:pt x="1789089" y="1414176"/>
                  </a:lnTo>
                  <a:cubicBezTo>
                    <a:pt x="1790811" y="2686881"/>
                    <a:pt x="1792534" y="3968731"/>
                    <a:pt x="1794256" y="5241436"/>
                  </a:cubicBezTo>
                  <a:lnTo>
                    <a:pt x="2942" y="5241436"/>
                  </a:lnTo>
                  <a:cubicBezTo>
                    <a:pt x="-1087" y="3500387"/>
                    <a:pt x="4029" y="1750194"/>
                    <a:pt x="0" y="9145"/>
                  </a:cubicBezTo>
                  <a:close/>
                </a:path>
              </a:pathLst>
            </a:custGeom>
            <a:solidFill>
              <a:schemeClr val="tx1">
                <a:lumMod val="85000"/>
                <a:lumOff val="1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yellow highlight">
              <a:extLst>
                <a:ext uri="{FF2B5EF4-FFF2-40B4-BE49-F238E27FC236}">
                  <a16:creationId xmlns:a16="http://schemas.microsoft.com/office/drawing/2014/main" id="{D52A73E3-B96E-B84E-AB95-16A7EE7E489C}"/>
                </a:ext>
              </a:extLst>
            </p:cNvPr>
            <p:cNvSpPr/>
            <p:nvPr/>
          </p:nvSpPr>
          <p:spPr>
            <a:xfrm>
              <a:off x="3556031" y="2821711"/>
              <a:ext cx="1612793" cy="3828275"/>
            </a:xfrm>
            <a:prstGeom prst="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6" name="From left to right 3">
            <a:extLst>
              <a:ext uri="{FF2B5EF4-FFF2-40B4-BE49-F238E27FC236}">
                <a16:creationId xmlns:a16="http://schemas.microsoft.com/office/drawing/2014/main" id="{9BA5A371-ED12-9044-9D76-28AF9BDFCB55}"/>
              </a:ext>
            </a:extLst>
          </p:cNvPr>
          <p:cNvGrpSpPr/>
          <p:nvPr/>
        </p:nvGrpSpPr>
        <p:grpSpPr>
          <a:xfrm>
            <a:off x="1764598" y="1406519"/>
            <a:ext cx="8389667" cy="5283090"/>
            <a:chOff x="1764598" y="1406519"/>
            <a:chExt cx="8389667" cy="5283090"/>
          </a:xfrm>
        </p:grpSpPr>
        <p:sp>
          <p:nvSpPr>
            <p:cNvPr id="54" name="Freeform 53">
              <a:extLst>
                <a:ext uri="{FF2B5EF4-FFF2-40B4-BE49-F238E27FC236}">
                  <a16:creationId xmlns:a16="http://schemas.microsoft.com/office/drawing/2014/main" id="{AC82B779-6EF1-8C44-9D41-EA70305E5618}"/>
                </a:ext>
              </a:extLst>
            </p:cNvPr>
            <p:cNvSpPr/>
            <p:nvPr/>
          </p:nvSpPr>
          <p:spPr>
            <a:xfrm>
              <a:off x="1764598" y="1406519"/>
              <a:ext cx="8389667" cy="5283090"/>
            </a:xfrm>
            <a:custGeom>
              <a:avLst/>
              <a:gdLst>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1822961 w 8364512"/>
                <a:gd name="connsiteY4" fmla="*/ 5232290 h 5232292"/>
                <a:gd name="connsiteX5" fmla="*/ 1822961 w 8364512"/>
                <a:gd name="connsiteY5" fmla="*/ 1404013 h 5232292"/>
                <a:gd name="connsiteX6" fmla="*/ 791483 w 8364512"/>
                <a:gd name="connsiteY6" fmla="*/ 1404013 h 5232292"/>
                <a:gd name="connsiteX7" fmla="*/ 791483 w 8364512"/>
                <a:gd name="connsiteY7" fmla="*/ 1404016 h 5232292"/>
                <a:gd name="connsiteX8" fmla="*/ 207370 w 8364512"/>
                <a:gd name="connsiteY8" fmla="*/ 1404016 h 5232292"/>
                <a:gd name="connsiteX9" fmla="*/ 2073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1822961 w 8364512"/>
                <a:gd name="connsiteY4" fmla="*/ 5232290 h 5232292"/>
                <a:gd name="connsiteX5" fmla="*/ 3397761 w 8364512"/>
                <a:gd name="connsiteY5" fmla="*/ 1414173 h 5232292"/>
                <a:gd name="connsiteX6" fmla="*/ 791483 w 8364512"/>
                <a:gd name="connsiteY6" fmla="*/ 1404013 h 5232292"/>
                <a:gd name="connsiteX7" fmla="*/ 791483 w 8364512"/>
                <a:gd name="connsiteY7" fmla="*/ 1404016 h 5232292"/>
                <a:gd name="connsiteX8" fmla="*/ 207370 w 8364512"/>
                <a:gd name="connsiteY8" fmla="*/ 1404016 h 5232292"/>
                <a:gd name="connsiteX9" fmla="*/ 2073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 name="connsiteX15" fmla="*/ 211080 w 8364512"/>
                <a:gd name="connsiteY15" fmla="*/ 0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3407921 w 8364512"/>
                <a:gd name="connsiteY4" fmla="*/ 5222130 h 5232292"/>
                <a:gd name="connsiteX5" fmla="*/ 3397761 w 8364512"/>
                <a:gd name="connsiteY5" fmla="*/ 1414173 h 5232292"/>
                <a:gd name="connsiteX6" fmla="*/ 791483 w 8364512"/>
                <a:gd name="connsiteY6" fmla="*/ 1404013 h 5232292"/>
                <a:gd name="connsiteX7" fmla="*/ 791483 w 8364512"/>
                <a:gd name="connsiteY7" fmla="*/ 1404016 h 5232292"/>
                <a:gd name="connsiteX8" fmla="*/ 207370 w 8364512"/>
                <a:gd name="connsiteY8" fmla="*/ 1404016 h 5232292"/>
                <a:gd name="connsiteX9" fmla="*/ 2073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 name="connsiteX15" fmla="*/ 211080 w 8364512"/>
                <a:gd name="connsiteY15" fmla="*/ 0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3407921 w 8364512"/>
                <a:gd name="connsiteY4" fmla="*/ 5222130 h 5232292"/>
                <a:gd name="connsiteX5" fmla="*/ 3397761 w 8364512"/>
                <a:gd name="connsiteY5" fmla="*/ 1414173 h 5232292"/>
                <a:gd name="connsiteX6" fmla="*/ 791483 w 8364512"/>
                <a:gd name="connsiteY6" fmla="*/ 1404013 h 5232292"/>
                <a:gd name="connsiteX7" fmla="*/ 791483 w 8364512"/>
                <a:gd name="connsiteY7" fmla="*/ 1404016 h 5232292"/>
                <a:gd name="connsiteX8" fmla="*/ 207370 w 8364512"/>
                <a:gd name="connsiteY8" fmla="*/ 1404016 h 5232292"/>
                <a:gd name="connsiteX9" fmla="*/ 17821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 name="connsiteX15" fmla="*/ 211080 w 8364512"/>
                <a:gd name="connsiteY15" fmla="*/ 0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3407921 w 8364512"/>
                <a:gd name="connsiteY4" fmla="*/ 5222130 h 5232292"/>
                <a:gd name="connsiteX5" fmla="*/ 3397761 w 8364512"/>
                <a:gd name="connsiteY5" fmla="*/ 1414173 h 5232292"/>
                <a:gd name="connsiteX6" fmla="*/ 791483 w 8364512"/>
                <a:gd name="connsiteY6" fmla="*/ 1404013 h 5232292"/>
                <a:gd name="connsiteX7" fmla="*/ 791483 w 8364512"/>
                <a:gd name="connsiteY7" fmla="*/ 1404016 h 5232292"/>
                <a:gd name="connsiteX8" fmla="*/ 1782170 w 8364512"/>
                <a:gd name="connsiteY8" fmla="*/ 1414176 h 5232292"/>
                <a:gd name="connsiteX9" fmla="*/ 17821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 name="connsiteX15" fmla="*/ 211080 w 8364512"/>
                <a:gd name="connsiteY15" fmla="*/ 0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3407921 w 8364512"/>
                <a:gd name="connsiteY4" fmla="*/ 5222130 h 5232292"/>
                <a:gd name="connsiteX5" fmla="*/ 3397761 w 8364512"/>
                <a:gd name="connsiteY5" fmla="*/ 1414173 h 5232292"/>
                <a:gd name="connsiteX6" fmla="*/ 791483 w 8364512"/>
                <a:gd name="connsiteY6" fmla="*/ 1404013 h 5232292"/>
                <a:gd name="connsiteX7" fmla="*/ 1756683 w 8364512"/>
                <a:gd name="connsiteY7" fmla="*/ 1414176 h 5232292"/>
                <a:gd name="connsiteX8" fmla="*/ 1782170 w 8364512"/>
                <a:gd name="connsiteY8" fmla="*/ 1414176 h 5232292"/>
                <a:gd name="connsiteX9" fmla="*/ 17821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 name="connsiteX15" fmla="*/ 211080 w 8364512"/>
                <a:gd name="connsiteY15" fmla="*/ 0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3407921 w 8364512"/>
                <a:gd name="connsiteY4" fmla="*/ 5222130 h 5232292"/>
                <a:gd name="connsiteX5" fmla="*/ 3397761 w 8364512"/>
                <a:gd name="connsiteY5" fmla="*/ 1414173 h 5232292"/>
                <a:gd name="connsiteX6" fmla="*/ 1756683 w 8364512"/>
                <a:gd name="connsiteY6" fmla="*/ 1414176 h 5232292"/>
                <a:gd name="connsiteX7" fmla="*/ 1782170 w 8364512"/>
                <a:gd name="connsiteY7" fmla="*/ 1414176 h 5232292"/>
                <a:gd name="connsiteX8" fmla="*/ 1782170 w 8364512"/>
                <a:gd name="connsiteY8" fmla="*/ 5232292 h 5232292"/>
                <a:gd name="connsiteX9" fmla="*/ 0 w 8364512"/>
                <a:gd name="connsiteY9" fmla="*/ 5232292 h 5232292"/>
                <a:gd name="connsiteX10" fmla="*/ 0 w 8364512"/>
                <a:gd name="connsiteY10" fmla="*/ 1 h 5232292"/>
                <a:gd name="connsiteX11" fmla="*/ 207370 w 8364512"/>
                <a:gd name="connsiteY11" fmla="*/ 1 h 5232292"/>
                <a:gd name="connsiteX12" fmla="*/ 207370 w 8364512"/>
                <a:gd name="connsiteY12" fmla="*/ 2 h 5232292"/>
                <a:gd name="connsiteX13" fmla="*/ 211080 w 8364512"/>
                <a:gd name="connsiteY13" fmla="*/ 2 h 5232292"/>
                <a:gd name="connsiteX14" fmla="*/ 211080 w 8364512"/>
                <a:gd name="connsiteY14" fmla="*/ 0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3407921 w 8364512"/>
                <a:gd name="connsiteY4" fmla="*/ 5222130 h 5232292"/>
                <a:gd name="connsiteX5" fmla="*/ 3397761 w 8364512"/>
                <a:gd name="connsiteY5" fmla="*/ 1414173 h 5232292"/>
                <a:gd name="connsiteX6" fmla="*/ 1756683 w 8364512"/>
                <a:gd name="connsiteY6" fmla="*/ 1414176 h 5232292"/>
                <a:gd name="connsiteX7" fmla="*/ 1782170 w 8364512"/>
                <a:gd name="connsiteY7" fmla="*/ 5232292 h 5232292"/>
                <a:gd name="connsiteX8" fmla="*/ 0 w 8364512"/>
                <a:gd name="connsiteY8" fmla="*/ 5232292 h 5232292"/>
                <a:gd name="connsiteX9" fmla="*/ 0 w 8364512"/>
                <a:gd name="connsiteY9" fmla="*/ 1 h 5232292"/>
                <a:gd name="connsiteX10" fmla="*/ 207370 w 8364512"/>
                <a:gd name="connsiteY10" fmla="*/ 1 h 5232292"/>
                <a:gd name="connsiteX11" fmla="*/ 207370 w 8364512"/>
                <a:gd name="connsiteY11" fmla="*/ 2 h 5232292"/>
                <a:gd name="connsiteX12" fmla="*/ 211080 w 8364512"/>
                <a:gd name="connsiteY12" fmla="*/ 2 h 5232292"/>
                <a:gd name="connsiteX13" fmla="*/ 211080 w 8364512"/>
                <a:gd name="connsiteY13" fmla="*/ 0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3407921 w 8364512"/>
                <a:gd name="connsiteY4" fmla="*/ 5222130 h 5232292"/>
                <a:gd name="connsiteX5" fmla="*/ 3397761 w 8364512"/>
                <a:gd name="connsiteY5" fmla="*/ 1414173 h 5232292"/>
                <a:gd name="connsiteX6" fmla="*/ 1777003 w 8364512"/>
                <a:gd name="connsiteY6" fmla="*/ 1414176 h 5232292"/>
                <a:gd name="connsiteX7" fmla="*/ 1782170 w 8364512"/>
                <a:gd name="connsiteY7" fmla="*/ 5232292 h 5232292"/>
                <a:gd name="connsiteX8" fmla="*/ 0 w 8364512"/>
                <a:gd name="connsiteY8" fmla="*/ 5232292 h 5232292"/>
                <a:gd name="connsiteX9" fmla="*/ 0 w 8364512"/>
                <a:gd name="connsiteY9" fmla="*/ 1 h 5232292"/>
                <a:gd name="connsiteX10" fmla="*/ 207370 w 8364512"/>
                <a:gd name="connsiteY10" fmla="*/ 1 h 5232292"/>
                <a:gd name="connsiteX11" fmla="*/ 207370 w 8364512"/>
                <a:gd name="connsiteY11" fmla="*/ 2 h 5232292"/>
                <a:gd name="connsiteX12" fmla="*/ 211080 w 8364512"/>
                <a:gd name="connsiteY12" fmla="*/ 2 h 5232292"/>
                <a:gd name="connsiteX13" fmla="*/ 211080 w 8364512"/>
                <a:gd name="connsiteY13" fmla="*/ 0 h 5232292"/>
                <a:gd name="connsiteX0" fmla="*/ 211080 w 8364512"/>
                <a:gd name="connsiteY0" fmla="*/ 0 h 5242450"/>
                <a:gd name="connsiteX1" fmla="*/ 8364512 w 8364512"/>
                <a:gd name="connsiteY1" fmla="*/ 0 h 5242450"/>
                <a:gd name="connsiteX2" fmla="*/ 8364512 w 8364512"/>
                <a:gd name="connsiteY2" fmla="*/ 1404013 h 5242450"/>
                <a:gd name="connsiteX3" fmla="*/ 8364512 w 8364512"/>
                <a:gd name="connsiteY3" fmla="*/ 5232290 h 5242450"/>
                <a:gd name="connsiteX4" fmla="*/ 3418081 w 8364512"/>
                <a:gd name="connsiteY4" fmla="*/ 5242450 h 5242450"/>
                <a:gd name="connsiteX5" fmla="*/ 3397761 w 8364512"/>
                <a:gd name="connsiteY5" fmla="*/ 1414173 h 5242450"/>
                <a:gd name="connsiteX6" fmla="*/ 1777003 w 8364512"/>
                <a:gd name="connsiteY6" fmla="*/ 1414176 h 5242450"/>
                <a:gd name="connsiteX7" fmla="*/ 1782170 w 8364512"/>
                <a:gd name="connsiteY7" fmla="*/ 5232292 h 5242450"/>
                <a:gd name="connsiteX8" fmla="*/ 0 w 8364512"/>
                <a:gd name="connsiteY8" fmla="*/ 5232292 h 5242450"/>
                <a:gd name="connsiteX9" fmla="*/ 0 w 8364512"/>
                <a:gd name="connsiteY9" fmla="*/ 1 h 5242450"/>
                <a:gd name="connsiteX10" fmla="*/ 207370 w 8364512"/>
                <a:gd name="connsiteY10" fmla="*/ 1 h 5242450"/>
                <a:gd name="connsiteX11" fmla="*/ 207370 w 8364512"/>
                <a:gd name="connsiteY11" fmla="*/ 2 h 5242450"/>
                <a:gd name="connsiteX12" fmla="*/ 211080 w 8364512"/>
                <a:gd name="connsiteY12" fmla="*/ 2 h 5242450"/>
                <a:gd name="connsiteX13" fmla="*/ 211080 w 8364512"/>
                <a:gd name="connsiteY13" fmla="*/ 0 h 5242450"/>
                <a:gd name="connsiteX0" fmla="*/ 211080 w 8374672"/>
                <a:gd name="connsiteY0" fmla="*/ 0 h 5262770"/>
                <a:gd name="connsiteX1" fmla="*/ 8364512 w 8374672"/>
                <a:gd name="connsiteY1" fmla="*/ 0 h 5262770"/>
                <a:gd name="connsiteX2" fmla="*/ 8364512 w 8374672"/>
                <a:gd name="connsiteY2" fmla="*/ 1404013 h 5262770"/>
                <a:gd name="connsiteX3" fmla="*/ 8374672 w 8374672"/>
                <a:gd name="connsiteY3" fmla="*/ 5262770 h 5262770"/>
                <a:gd name="connsiteX4" fmla="*/ 3418081 w 8374672"/>
                <a:gd name="connsiteY4" fmla="*/ 5242450 h 5262770"/>
                <a:gd name="connsiteX5" fmla="*/ 3397761 w 8374672"/>
                <a:gd name="connsiteY5" fmla="*/ 1414173 h 5262770"/>
                <a:gd name="connsiteX6" fmla="*/ 1777003 w 8374672"/>
                <a:gd name="connsiteY6" fmla="*/ 1414176 h 5262770"/>
                <a:gd name="connsiteX7" fmla="*/ 1782170 w 8374672"/>
                <a:gd name="connsiteY7" fmla="*/ 5232292 h 5262770"/>
                <a:gd name="connsiteX8" fmla="*/ 0 w 8374672"/>
                <a:gd name="connsiteY8" fmla="*/ 5232292 h 5262770"/>
                <a:gd name="connsiteX9" fmla="*/ 0 w 8374672"/>
                <a:gd name="connsiteY9" fmla="*/ 1 h 5262770"/>
                <a:gd name="connsiteX10" fmla="*/ 207370 w 8374672"/>
                <a:gd name="connsiteY10" fmla="*/ 1 h 5262770"/>
                <a:gd name="connsiteX11" fmla="*/ 207370 w 8374672"/>
                <a:gd name="connsiteY11" fmla="*/ 2 h 5262770"/>
                <a:gd name="connsiteX12" fmla="*/ 211080 w 8374672"/>
                <a:gd name="connsiteY12" fmla="*/ 2 h 5262770"/>
                <a:gd name="connsiteX13" fmla="*/ 211080 w 8374672"/>
                <a:gd name="connsiteY13" fmla="*/ 0 h 5262770"/>
                <a:gd name="connsiteX0" fmla="*/ 211080 w 8364805"/>
                <a:gd name="connsiteY0" fmla="*/ 0 h 5242450"/>
                <a:gd name="connsiteX1" fmla="*/ 8364512 w 8364805"/>
                <a:gd name="connsiteY1" fmla="*/ 0 h 5242450"/>
                <a:gd name="connsiteX2" fmla="*/ 8364512 w 8364805"/>
                <a:gd name="connsiteY2" fmla="*/ 1404013 h 5242450"/>
                <a:gd name="connsiteX3" fmla="*/ 8344192 w 8364805"/>
                <a:gd name="connsiteY3" fmla="*/ 5242450 h 5242450"/>
                <a:gd name="connsiteX4" fmla="*/ 3418081 w 8364805"/>
                <a:gd name="connsiteY4" fmla="*/ 5242450 h 5242450"/>
                <a:gd name="connsiteX5" fmla="*/ 3397761 w 8364805"/>
                <a:gd name="connsiteY5" fmla="*/ 1414173 h 5242450"/>
                <a:gd name="connsiteX6" fmla="*/ 1777003 w 8364805"/>
                <a:gd name="connsiteY6" fmla="*/ 1414176 h 5242450"/>
                <a:gd name="connsiteX7" fmla="*/ 1782170 w 8364805"/>
                <a:gd name="connsiteY7" fmla="*/ 5232292 h 5242450"/>
                <a:gd name="connsiteX8" fmla="*/ 0 w 8364805"/>
                <a:gd name="connsiteY8" fmla="*/ 5232292 h 5242450"/>
                <a:gd name="connsiteX9" fmla="*/ 0 w 8364805"/>
                <a:gd name="connsiteY9" fmla="*/ 1 h 5242450"/>
                <a:gd name="connsiteX10" fmla="*/ 207370 w 8364805"/>
                <a:gd name="connsiteY10" fmla="*/ 1 h 5242450"/>
                <a:gd name="connsiteX11" fmla="*/ 207370 w 8364805"/>
                <a:gd name="connsiteY11" fmla="*/ 2 h 5242450"/>
                <a:gd name="connsiteX12" fmla="*/ 211080 w 8364805"/>
                <a:gd name="connsiteY12" fmla="*/ 2 h 5242450"/>
                <a:gd name="connsiteX13" fmla="*/ 211080 w 8364805"/>
                <a:gd name="connsiteY13" fmla="*/ 0 h 5242450"/>
                <a:gd name="connsiteX0" fmla="*/ 211080 w 8364962"/>
                <a:gd name="connsiteY0" fmla="*/ 0 h 5262770"/>
                <a:gd name="connsiteX1" fmla="*/ 8364512 w 8364962"/>
                <a:gd name="connsiteY1" fmla="*/ 0 h 5262770"/>
                <a:gd name="connsiteX2" fmla="*/ 8364512 w 8364962"/>
                <a:gd name="connsiteY2" fmla="*/ 1404013 h 5262770"/>
                <a:gd name="connsiteX3" fmla="*/ 8354352 w 8364962"/>
                <a:gd name="connsiteY3" fmla="*/ 5262770 h 5262770"/>
                <a:gd name="connsiteX4" fmla="*/ 3418081 w 8364962"/>
                <a:gd name="connsiteY4" fmla="*/ 5242450 h 5262770"/>
                <a:gd name="connsiteX5" fmla="*/ 3397761 w 8364962"/>
                <a:gd name="connsiteY5" fmla="*/ 1414173 h 5262770"/>
                <a:gd name="connsiteX6" fmla="*/ 1777003 w 8364962"/>
                <a:gd name="connsiteY6" fmla="*/ 1414176 h 5262770"/>
                <a:gd name="connsiteX7" fmla="*/ 1782170 w 8364962"/>
                <a:gd name="connsiteY7" fmla="*/ 5232292 h 5262770"/>
                <a:gd name="connsiteX8" fmla="*/ 0 w 8364962"/>
                <a:gd name="connsiteY8" fmla="*/ 5232292 h 5262770"/>
                <a:gd name="connsiteX9" fmla="*/ 0 w 8364962"/>
                <a:gd name="connsiteY9" fmla="*/ 1 h 5262770"/>
                <a:gd name="connsiteX10" fmla="*/ 207370 w 8364962"/>
                <a:gd name="connsiteY10" fmla="*/ 1 h 5262770"/>
                <a:gd name="connsiteX11" fmla="*/ 207370 w 8364962"/>
                <a:gd name="connsiteY11" fmla="*/ 2 h 5262770"/>
                <a:gd name="connsiteX12" fmla="*/ 211080 w 8364962"/>
                <a:gd name="connsiteY12" fmla="*/ 2 h 5262770"/>
                <a:gd name="connsiteX13" fmla="*/ 211080 w 8364962"/>
                <a:gd name="connsiteY13" fmla="*/ 0 h 5262770"/>
                <a:gd name="connsiteX0" fmla="*/ 211080 w 8364962"/>
                <a:gd name="connsiteY0" fmla="*/ 0 h 5262770"/>
                <a:gd name="connsiteX1" fmla="*/ 8364512 w 8364962"/>
                <a:gd name="connsiteY1" fmla="*/ 0 h 5262770"/>
                <a:gd name="connsiteX2" fmla="*/ 8364512 w 8364962"/>
                <a:gd name="connsiteY2" fmla="*/ 1404013 h 5262770"/>
                <a:gd name="connsiteX3" fmla="*/ 8354352 w 8364962"/>
                <a:gd name="connsiteY3" fmla="*/ 5262770 h 5262770"/>
                <a:gd name="connsiteX4" fmla="*/ 3418081 w 8364962"/>
                <a:gd name="connsiteY4" fmla="*/ 5242450 h 5262770"/>
                <a:gd name="connsiteX5" fmla="*/ 8345681 w 8364962"/>
                <a:gd name="connsiteY5" fmla="*/ 1109373 h 5262770"/>
                <a:gd name="connsiteX6" fmla="*/ 1777003 w 8364962"/>
                <a:gd name="connsiteY6" fmla="*/ 1414176 h 5262770"/>
                <a:gd name="connsiteX7" fmla="*/ 1782170 w 8364962"/>
                <a:gd name="connsiteY7" fmla="*/ 5232292 h 5262770"/>
                <a:gd name="connsiteX8" fmla="*/ 0 w 8364962"/>
                <a:gd name="connsiteY8" fmla="*/ 5232292 h 5262770"/>
                <a:gd name="connsiteX9" fmla="*/ 0 w 8364962"/>
                <a:gd name="connsiteY9" fmla="*/ 1 h 5262770"/>
                <a:gd name="connsiteX10" fmla="*/ 207370 w 8364962"/>
                <a:gd name="connsiteY10" fmla="*/ 1 h 5262770"/>
                <a:gd name="connsiteX11" fmla="*/ 207370 w 8364962"/>
                <a:gd name="connsiteY11" fmla="*/ 2 h 5262770"/>
                <a:gd name="connsiteX12" fmla="*/ 211080 w 8364962"/>
                <a:gd name="connsiteY12" fmla="*/ 2 h 5262770"/>
                <a:gd name="connsiteX13" fmla="*/ 211080 w 8364962"/>
                <a:gd name="connsiteY13" fmla="*/ 0 h 5262770"/>
                <a:gd name="connsiteX0" fmla="*/ 211080 w 8366001"/>
                <a:gd name="connsiteY0" fmla="*/ 0 h 5262770"/>
                <a:gd name="connsiteX1" fmla="*/ 8364512 w 8366001"/>
                <a:gd name="connsiteY1" fmla="*/ 0 h 5262770"/>
                <a:gd name="connsiteX2" fmla="*/ 8364512 w 8366001"/>
                <a:gd name="connsiteY2" fmla="*/ 1404013 h 5262770"/>
                <a:gd name="connsiteX3" fmla="*/ 8354352 w 8366001"/>
                <a:gd name="connsiteY3" fmla="*/ 5262770 h 5262770"/>
                <a:gd name="connsiteX4" fmla="*/ 8366001 w 8366001"/>
                <a:gd name="connsiteY4" fmla="*/ 5242450 h 5262770"/>
                <a:gd name="connsiteX5" fmla="*/ 8345681 w 8366001"/>
                <a:gd name="connsiteY5" fmla="*/ 1109373 h 5262770"/>
                <a:gd name="connsiteX6" fmla="*/ 1777003 w 8366001"/>
                <a:gd name="connsiteY6" fmla="*/ 1414176 h 5262770"/>
                <a:gd name="connsiteX7" fmla="*/ 1782170 w 8366001"/>
                <a:gd name="connsiteY7" fmla="*/ 5232292 h 5262770"/>
                <a:gd name="connsiteX8" fmla="*/ 0 w 8366001"/>
                <a:gd name="connsiteY8" fmla="*/ 5232292 h 5262770"/>
                <a:gd name="connsiteX9" fmla="*/ 0 w 8366001"/>
                <a:gd name="connsiteY9" fmla="*/ 1 h 5262770"/>
                <a:gd name="connsiteX10" fmla="*/ 207370 w 8366001"/>
                <a:gd name="connsiteY10" fmla="*/ 1 h 5262770"/>
                <a:gd name="connsiteX11" fmla="*/ 207370 w 8366001"/>
                <a:gd name="connsiteY11" fmla="*/ 2 h 5262770"/>
                <a:gd name="connsiteX12" fmla="*/ 211080 w 8366001"/>
                <a:gd name="connsiteY12" fmla="*/ 2 h 5262770"/>
                <a:gd name="connsiteX13" fmla="*/ 211080 w 8366001"/>
                <a:gd name="connsiteY13" fmla="*/ 0 h 5262770"/>
                <a:gd name="connsiteX0" fmla="*/ 211080 w 8366001"/>
                <a:gd name="connsiteY0" fmla="*/ 0 h 5262770"/>
                <a:gd name="connsiteX1" fmla="*/ 8364512 w 8366001"/>
                <a:gd name="connsiteY1" fmla="*/ 0 h 5262770"/>
                <a:gd name="connsiteX2" fmla="*/ 8364512 w 8366001"/>
                <a:gd name="connsiteY2" fmla="*/ 1404013 h 5262770"/>
                <a:gd name="connsiteX3" fmla="*/ 8354352 w 8366001"/>
                <a:gd name="connsiteY3" fmla="*/ 5262770 h 5262770"/>
                <a:gd name="connsiteX4" fmla="*/ 8366001 w 8366001"/>
                <a:gd name="connsiteY4" fmla="*/ 5242450 h 5262770"/>
                <a:gd name="connsiteX5" fmla="*/ 8345681 w 8366001"/>
                <a:gd name="connsiteY5" fmla="*/ 1109373 h 5262770"/>
                <a:gd name="connsiteX6" fmla="*/ 3422923 w 8366001"/>
                <a:gd name="connsiteY6" fmla="*/ 1109376 h 5262770"/>
                <a:gd name="connsiteX7" fmla="*/ 1782170 w 8366001"/>
                <a:gd name="connsiteY7" fmla="*/ 5232292 h 5262770"/>
                <a:gd name="connsiteX8" fmla="*/ 0 w 8366001"/>
                <a:gd name="connsiteY8" fmla="*/ 5232292 h 5262770"/>
                <a:gd name="connsiteX9" fmla="*/ 0 w 8366001"/>
                <a:gd name="connsiteY9" fmla="*/ 1 h 5262770"/>
                <a:gd name="connsiteX10" fmla="*/ 207370 w 8366001"/>
                <a:gd name="connsiteY10" fmla="*/ 1 h 5262770"/>
                <a:gd name="connsiteX11" fmla="*/ 207370 w 8366001"/>
                <a:gd name="connsiteY11" fmla="*/ 2 h 5262770"/>
                <a:gd name="connsiteX12" fmla="*/ 211080 w 8366001"/>
                <a:gd name="connsiteY12" fmla="*/ 2 h 5262770"/>
                <a:gd name="connsiteX13" fmla="*/ 211080 w 8366001"/>
                <a:gd name="connsiteY13" fmla="*/ 0 h 5262770"/>
                <a:gd name="connsiteX0" fmla="*/ 211080 w 8366001"/>
                <a:gd name="connsiteY0" fmla="*/ 0 h 5262770"/>
                <a:gd name="connsiteX1" fmla="*/ 8364512 w 8366001"/>
                <a:gd name="connsiteY1" fmla="*/ 0 h 5262770"/>
                <a:gd name="connsiteX2" fmla="*/ 8364512 w 8366001"/>
                <a:gd name="connsiteY2" fmla="*/ 1404013 h 5262770"/>
                <a:gd name="connsiteX3" fmla="*/ 8354352 w 8366001"/>
                <a:gd name="connsiteY3" fmla="*/ 5262770 h 5262770"/>
                <a:gd name="connsiteX4" fmla="*/ 8366001 w 8366001"/>
                <a:gd name="connsiteY4" fmla="*/ 5242450 h 5262770"/>
                <a:gd name="connsiteX5" fmla="*/ 8345681 w 8366001"/>
                <a:gd name="connsiteY5" fmla="*/ 1109373 h 5262770"/>
                <a:gd name="connsiteX6" fmla="*/ 3422923 w 8366001"/>
                <a:gd name="connsiteY6" fmla="*/ 1109376 h 5262770"/>
                <a:gd name="connsiteX7" fmla="*/ 3417930 w 8366001"/>
                <a:gd name="connsiteY7" fmla="*/ 5232292 h 5262770"/>
                <a:gd name="connsiteX8" fmla="*/ 0 w 8366001"/>
                <a:gd name="connsiteY8" fmla="*/ 5232292 h 5262770"/>
                <a:gd name="connsiteX9" fmla="*/ 0 w 8366001"/>
                <a:gd name="connsiteY9" fmla="*/ 1 h 5262770"/>
                <a:gd name="connsiteX10" fmla="*/ 207370 w 8366001"/>
                <a:gd name="connsiteY10" fmla="*/ 1 h 5262770"/>
                <a:gd name="connsiteX11" fmla="*/ 207370 w 8366001"/>
                <a:gd name="connsiteY11" fmla="*/ 2 h 5262770"/>
                <a:gd name="connsiteX12" fmla="*/ 211080 w 8366001"/>
                <a:gd name="connsiteY12" fmla="*/ 2 h 5262770"/>
                <a:gd name="connsiteX13" fmla="*/ 211080 w 8366001"/>
                <a:gd name="connsiteY13" fmla="*/ 0 h 5262770"/>
                <a:gd name="connsiteX0" fmla="*/ 211080 w 8376087"/>
                <a:gd name="connsiteY0" fmla="*/ 0 h 5262770"/>
                <a:gd name="connsiteX1" fmla="*/ 8376087 w 8376087"/>
                <a:gd name="connsiteY1" fmla="*/ 0 h 5262770"/>
                <a:gd name="connsiteX2" fmla="*/ 8364512 w 8376087"/>
                <a:gd name="connsiteY2" fmla="*/ 1404013 h 5262770"/>
                <a:gd name="connsiteX3" fmla="*/ 8354352 w 8376087"/>
                <a:gd name="connsiteY3" fmla="*/ 5262770 h 5262770"/>
                <a:gd name="connsiteX4" fmla="*/ 8366001 w 8376087"/>
                <a:gd name="connsiteY4" fmla="*/ 5242450 h 5262770"/>
                <a:gd name="connsiteX5" fmla="*/ 8345681 w 8376087"/>
                <a:gd name="connsiteY5" fmla="*/ 1109373 h 5262770"/>
                <a:gd name="connsiteX6" fmla="*/ 3422923 w 8376087"/>
                <a:gd name="connsiteY6" fmla="*/ 1109376 h 5262770"/>
                <a:gd name="connsiteX7" fmla="*/ 3417930 w 8376087"/>
                <a:gd name="connsiteY7" fmla="*/ 5232292 h 5262770"/>
                <a:gd name="connsiteX8" fmla="*/ 0 w 8376087"/>
                <a:gd name="connsiteY8" fmla="*/ 5232292 h 5262770"/>
                <a:gd name="connsiteX9" fmla="*/ 0 w 8376087"/>
                <a:gd name="connsiteY9" fmla="*/ 1 h 5262770"/>
                <a:gd name="connsiteX10" fmla="*/ 207370 w 8376087"/>
                <a:gd name="connsiteY10" fmla="*/ 1 h 5262770"/>
                <a:gd name="connsiteX11" fmla="*/ 207370 w 8376087"/>
                <a:gd name="connsiteY11" fmla="*/ 2 h 5262770"/>
                <a:gd name="connsiteX12" fmla="*/ 211080 w 8376087"/>
                <a:gd name="connsiteY12" fmla="*/ 2 h 5262770"/>
                <a:gd name="connsiteX13" fmla="*/ 211080 w 8376087"/>
                <a:gd name="connsiteY13" fmla="*/ 0 h 5262770"/>
                <a:gd name="connsiteX0" fmla="*/ 211080 w 8379327"/>
                <a:gd name="connsiteY0" fmla="*/ 0 h 5262770"/>
                <a:gd name="connsiteX1" fmla="*/ 8376087 w 8379327"/>
                <a:gd name="connsiteY1" fmla="*/ 0 h 5262770"/>
                <a:gd name="connsiteX2" fmla="*/ 8364512 w 8379327"/>
                <a:gd name="connsiteY2" fmla="*/ 1404013 h 5262770"/>
                <a:gd name="connsiteX3" fmla="*/ 8354352 w 8379327"/>
                <a:gd name="connsiteY3" fmla="*/ 5262770 h 5262770"/>
                <a:gd name="connsiteX4" fmla="*/ 8366001 w 8379327"/>
                <a:gd name="connsiteY4" fmla="*/ 5242450 h 5262770"/>
                <a:gd name="connsiteX5" fmla="*/ 8345681 w 8379327"/>
                <a:gd name="connsiteY5" fmla="*/ 1109373 h 5262770"/>
                <a:gd name="connsiteX6" fmla="*/ 3422923 w 8379327"/>
                <a:gd name="connsiteY6" fmla="*/ 1109376 h 5262770"/>
                <a:gd name="connsiteX7" fmla="*/ 3417930 w 8379327"/>
                <a:gd name="connsiteY7" fmla="*/ 5232292 h 5262770"/>
                <a:gd name="connsiteX8" fmla="*/ 0 w 8379327"/>
                <a:gd name="connsiteY8" fmla="*/ 5232292 h 5262770"/>
                <a:gd name="connsiteX9" fmla="*/ 0 w 8379327"/>
                <a:gd name="connsiteY9" fmla="*/ 1 h 5262770"/>
                <a:gd name="connsiteX10" fmla="*/ 207370 w 8379327"/>
                <a:gd name="connsiteY10" fmla="*/ 1 h 5262770"/>
                <a:gd name="connsiteX11" fmla="*/ 207370 w 8379327"/>
                <a:gd name="connsiteY11" fmla="*/ 2 h 5262770"/>
                <a:gd name="connsiteX12" fmla="*/ 211080 w 8379327"/>
                <a:gd name="connsiteY12" fmla="*/ 2 h 5262770"/>
                <a:gd name="connsiteX13" fmla="*/ 211080 w 8379327"/>
                <a:gd name="connsiteY13" fmla="*/ 0 h 5262770"/>
                <a:gd name="connsiteX0" fmla="*/ 211080 w 8388689"/>
                <a:gd name="connsiteY0" fmla="*/ 20320 h 5283090"/>
                <a:gd name="connsiteX1" fmla="*/ 8386247 w 8388689"/>
                <a:gd name="connsiteY1" fmla="*/ 0 h 5283090"/>
                <a:gd name="connsiteX2" fmla="*/ 8364512 w 8388689"/>
                <a:gd name="connsiteY2" fmla="*/ 1424333 h 5283090"/>
                <a:gd name="connsiteX3" fmla="*/ 8354352 w 8388689"/>
                <a:gd name="connsiteY3" fmla="*/ 5283090 h 5283090"/>
                <a:gd name="connsiteX4" fmla="*/ 8366001 w 8388689"/>
                <a:gd name="connsiteY4" fmla="*/ 5262770 h 5283090"/>
                <a:gd name="connsiteX5" fmla="*/ 8345681 w 8388689"/>
                <a:gd name="connsiteY5" fmla="*/ 1129693 h 5283090"/>
                <a:gd name="connsiteX6" fmla="*/ 3422923 w 8388689"/>
                <a:gd name="connsiteY6" fmla="*/ 1129696 h 5283090"/>
                <a:gd name="connsiteX7" fmla="*/ 3417930 w 8388689"/>
                <a:gd name="connsiteY7" fmla="*/ 5252612 h 5283090"/>
                <a:gd name="connsiteX8" fmla="*/ 0 w 8388689"/>
                <a:gd name="connsiteY8" fmla="*/ 5252612 h 5283090"/>
                <a:gd name="connsiteX9" fmla="*/ 0 w 8388689"/>
                <a:gd name="connsiteY9" fmla="*/ 20321 h 5283090"/>
                <a:gd name="connsiteX10" fmla="*/ 207370 w 8388689"/>
                <a:gd name="connsiteY10" fmla="*/ 20321 h 5283090"/>
                <a:gd name="connsiteX11" fmla="*/ 207370 w 8388689"/>
                <a:gd name="connsiteY11" fmla="*/ 20322 h 5283090"/>
                <a:gd name="connsiteX12" fmla="*/ 211080 w 8388689"/>
                <a:gd name="connsiteY12" fmla="*/ 20322 h 5283090"/>
                <a:gd name="connsiteX13" fmla="*/ 211080 w 8388689"/>
                <a:gd name="connsiteY13" fmla="*/ 20320 h 5283090"/>
                <a:gd name="connsiteX0" fmla="*/ 211080 w 8388689"/>
                <a:gd name="connsiteY0" fmla="*/ 20320 h 5283090"/>
                <a:gd name="connsiteX1" fmla="*/ 8386247 w 8388689"/>
                <a:gd name="connsiteY1" fmla="*/ 0 h 5283090"/>
                <a:gd name="connsiteX2" fmla="*/ 8364512 w 8388689"/>
                <a:gd name="connsiteY2" fmla="*/ 1424333 h 5283090"/>
                <a:gd name="connsiteX3" fmla="*/ 8354352 w 8388689"/>
                <a:gd name="connsiteY3" fmla="*/ 5283090 h 5283090"/>
                <a:gd name="connsiteX4" fmla="*/ 8366001 w 8388689"/>
                <a:gd name="connsiteY4" fmla="*/ 5262770 h 5283090"/>
                <a:gd name="connsiteX5" fmla="*/ 8345681 w 8388689"/>
                <a:gd name="connsiteY5" fmla="*/ 1129693 h 5283090"/>
                <a:gd name="connsiteX6" fmla="*/ 3422923 w 8388689"/>
                <a:gd name="connsiteY6" fmla="*/ 1129696 h 5283090"/>
                <a:gd name="connsiteX7" fmla="*/ 3417930 w 8388689"/>
                <a:gd name="connsiteY7" fmla="*/ 5252612 h 5283090"/>
                <a:gd name="connsiteX8" fmla="*/ 0 w 8388689"/>
                <a:gd name="connsiteY8" fmla="*/ 5252612 h 5283090"/>
                <a:gd name="connsiteX9" fmla="*/ 0 w 8388689"/>
                <a:gd name="connsiteY9" fmla="*/ 20321 h 5283090"/>
                <a:gd name="connsiteX10" fmla="*/ 207370 w 8388689"/>
                <a:gd name="connsiteY10" fmla="*/ 20321 h 5283090"/>
                <a:gd name="connsiteX11" fmla="*/ 207370 w 8388689"/>
                <a:gd name="connsiteY11" fmla="*/ 20322 h 5283090"/>
                <a:gd name="connsiteX12" fmla="*/ 211080 w 8388689"/>
                <a:gd name="connsiteY12" fmla="*/ 20322 h 5283090"/>
                <a:gd name="connsiteX13" fmla="*/ 211080 w 8388689"/>
                <a:gd name="connsiteY13" fmla="*/ 20320 h 5283090"/>
                <a:gd name="connsiteX0" fmla="*/ 200920 w 8388689"/>
                <a:gd name="connsiteY0" fmla="*/ 0 h 5293250"/>
                <a:gd name="connsiteX1" fmla="*/ 8386247 w 8388689"/>
                <a:gd name="connsiteY1" fmla="*/ 10160 h 5293250"/>
                <a:gd name="connsiteX2" fmla="*/ 8364512 w 8388689"/>
                <a:gd name="connsiteY2" fmla="*/ 1434493 h 5293250"/>
                <a:gd name="connsiteX3" fmla="*/ 8354352 w 8388689"/>
                <a:gd name="connsiteY3" fmla="*/ 5293250 h 5293250"/>
                <a:gd name="connsiteX4" fmla="*/ 8366001 w 8388689"/>
                <a:gd name="connsiteY4" fmla="*/ 5272930 h 5293250"/>
                <a:gd name="connsiteX5" fmla="*/ 8345681 w 8388689"/>
                <a:gd name="connsiteY5" fmla="*/ 1139853 h 5293250"/>
                <a:gd name="connsiteX6" fmla="*/ 3422923 w 8388689"/>
                <a:gd name="connsiteY6" fmla="*/ 1139856 h 5293250"/>
                <a:gd name="connsiteX7" fmla="*/ 3417930 w 8388689"/>
                <a:gd name="connsiteY7" fmla="*/ 5262772 h 5293250"/>
                <a:gd name="connsiteX8" fmla="*/ 0 w 8388689"/>
                <a:gd name="connsiteY8" fmla="*/ 5262772 h 5293250"/>
                <a:gd name="connsiteX9" fmla="*/ 0 w 8388689"/>
                <a:gd name="connsiteY9" fmla="*/ 30481 h 5293250"/>
                <a:gd name="connsiteX10" fmla="*/ 207370 w 8388689"/>
                <a:gd name="connsiteY10" fmla="*/ 30481 h 5293250"/>
                <a:gd name="connsiteX11" fmla="*/ 207370 w 8388689"/>
                <a:gd name="connsiteY11" fmla="*/ 30482 h 5293250"/>
                <a:gd name="connsiteX12" fmla="*/ 211080 w 8388689"/>
                <a:gd name="connsiteY12" fmla="*/ 30482 h 5293250"/>
                <a:gd name="connsiteX13" fmla="*/ 200920 w 8388689"/>
                <a:gd name="connsiteY13" fmla="*/ 0 h 5293250"/>
                <a:gd name="connsiteX0" fmla="*/ 373640 w 8388689"/>
                <a:gd name="connsiteY0" fmla="*/ 30480 h 5283090"/>
                <a:gd name="connsiteX1" fmla="*/ 8386247 w 8388689"/>
                <a:gd name="connsiteY1" fmla="*/ 0 h 5283090"/>
                <a:gd name="connsiteX2" fmla="*/ 8364512 w 8388689"/>
                <a:gd name="connsiteY2" fmla="*/ 1424333 h 5283090"/>
                <a:gd name="connsiteX3" fmla="*/ 8354352 w 8388689"/>
                <a:gd name="connsiteY3" fmla="*/ 5283090 h 5283090"/>
                <a:gd name="connsiteX4" fmla="*/ 8366001 w 8388689"/>
                <a:gd name="connsiteY4" fmla="*/ 5262770 h 5283090"/>
                <a:gd name="connsiteX5" fmla="*/ 8345681 w 8388689"/>
                <a:gd name="connsiteY5" fmla="*/ 1129693 h 5283090"/>
                <a:gd name="connsiteX6" fmla="*/ 3422923 w 8388689"/>
                <a:gd name="connsiteY6" fmla="*/ 1129696 h 5283090"/>
                <a:gd name="connsiteX7" fmla="*/ 3417930 w 8388689"/>
                <a:gd name="connsiteY7" fmla="*/ 5252612 h 5283090"/>
                <a:gd name="connsiteX8" fmla="*/ 0 w 8388689"/>
                <a:gd name="connsiteY8" fmla="*/ 5252612 h 5283090"/>
                <a:gd name="connsiteX9" fmla="*/ 0 w 8388689"/>
                <a:gd name="connsiteY9" fmla="*/ 20321 h 5283090"/>
                <a:gd name="connsiteX10" fmla="*/ 207370 w 8388689"/>
                <a:gd name="connsiteY10" fmla="*/ 20321 h 5283090"/>
                <a:gd name="connsiteX11" fmla="*/ 207370 w 8388689"/>
                <a:gd name="connsiteY11" fmla="*/ 20322 h 5283090"/>
                <a:gd name="connsiteX12" fmla="*/ 211080 w 8388689"/>
                <a:gd name="connsiteY12" fmla="*/ 20322 h 5283090"/>
                <a:gd name="connsiteX13" fmla="*/ 373640 w 8388689"/>
                <a:gd name="connsiteY13" fmla="*/ 30480 h 5283090"/>
                <a:gd name="connsiteX0" fmla="*/ 698760 w 8388689"/>
                <a:gd name="connsiteY0" fmla="*/ 30480 h 5283090"/>
                <a:gd name="connsiteX1" fmla="*/ 8386247 w 8388689"/>
                <a:gd name="connsiteY1" fmla="*/ 0 h 5283090"/>
                <a:gd name="connsiteX2" fmla="*/ 8364512 w 8388689"/>
                <a:gd name="connsiteY2" fmla="*/ 1424333 h 5283090"/>
                <a:gd name="connsiteX3" fmla="*/ 8354352 w 8388689"/>
                <a:gd name="connsiteY3" fmla="*/ 5283090 h 5283090"/>
                <a:gd name="connsiteX4" fmla="*/ 8366001 w 8388689"/>
                <a:gd name="connsiteY4" fmla="*/ 5262770 h 5283090"/>
                <a:gd name="connsiteX5" fmla="*/ 8345681 w 8388689"/>
                <a:gd name="connsiteY5" fmla="*/ 1129693 h 5283090"/>
                <a:gd name="connsiteX6" fmla="*/ 3422923 w 8388689"/>
                <a:gd name="connsiteY6" fmla="*/ 1129696 h 5283090"/>
                <a:gd name="connsiteX7" fmla="*/ 3417930 w 8388689"/>
                <a:gd name="connsiteY7" fmla="*/ 5252612 h 5283090"/>
                <a:gd name="connsiteX8" fmla="*/ 0 w 8388689"/>
                <a:gd name="connsiteY8" fmla="*/ 5252612 h 5283090"/>
                <a:gd name="connsiteX9" fmla="*/ 0 w 8388689"/>
                <a:gd name="connsiteY9" fmla="*/ 20321 h 5283090"/>
                <a:gd name="connsiteX10" fmla="*/ 207370 w 8388689"/>
                <a:gd name="connsiteY10" fmla="*/ 20321 h 5283090"/>
                <a:gd name="connsiteX11" fmla="*/ 207370 w 8388689"/>
                <a:gd name="connsiteY11" fmla="*/ 20322 h 5283090"/>
                <a:gd name="connsiteX12" fmla="*/ 211080 w 8388689"/>
                <a:gd name="connsiteY12" fmla="*/ 20322 h 5283090"/>
                <a:gd name="connsiteX13" fmla="*/ 698760 w 8388689"/>
                <a:gd name="connsiteY13" fmla="*/ 30480 h 5283090"/>
                <a:gd name="connsiteX0" fmla="*/ 211080 w 8388689"/>
                <a:gd name="connsiteY0" fmla="*/ 20322 h 5283090"/>
                <a:gd name="connsiteX1" fmla="*/ 8386247 w 8388689"/>
                <a:gd name="connsiteY1" fmla="*/ 0 h 5283090"/>
                <a:gd name="connsiteX2" fmla="*/ 8364512 w 8388689"/>
                <a:gd name="connsiteY2" fmla="*/ 1424333 h 5283090"/>
                <a:gd name="connsiteX3" fmla="*/ 8354352 w 8388689"/>
                <a:gd name="connsiteY3" fmla="*/ 5283090 h 5283090"/>
                <a:gd name="connsiteX4" fmla="*/ 8366001 w 8388689"/>
                <a:gd name="connsiteY4" fmla="*/ 5262770 h 5283090"/>
                <a:gd name="connsiteX5" fmla="*/ 8345681 w 8388689"/>
                <a:gd name="connsiteY5" fmla="*/ 1129693 h 5283090"/>
                <a:gd name="connsiteX6" fmla="*/ 3422923 w 8388689"/>
                <a:gd name="connsiteY6" fmla="*/ 1129696 h 5283090"/>
                <a:gd name="connsiteX7" fmla="*/ 3417930 w 8388689"/>
                <a:gd name="connsiteY7" fmla="*/ 5252612 h 5283090"/>
                <a:gd name="connsiteX8" fmla="*/ 0 w 8388689"/>
                <a:gd name="connsiteY8" fmla="*/ 5252612 h 5283090"/>
                <a:gd name="connsiteX9" fmla="*/ 0 w 8388689"/>
                <a:gd name="connsiteY9" fmla="*/ 20321 h 5283090"/>
                <a:gd name="connsiteX10" fmla="*/ 207370 w 8388689"/>
                <a:gd name="connsiteY10" fmla="*/ 20321 h 5283090"/>
                <a:gd name="connsiteX11" fmla="*/ 207370 w 8388689"/>
                <a:gd name="connsiteY11" fmla="*/ 20322 h 5283090"/>
                <a:gd name="connsiteX12" fmla="*/ 211080 w 8388689"/>
                <a:gd name="connsiteY12" fmla="*/ 20322 h 5283090"/>
                <a:gd name="connsiteX0" fmla="*/ 207370 w 8388689"/>
                <a:gd name="connsiteY0" fmla="*/ 20322 h 5283090"/>
                <a:gd name="connsiteX1" fmla="*/ 8386247 w 8388689"/>
                <a:gd name="connsiteY1" fmla="*/ 0 h 5283090"/>
                <a:gd name="connsiteX2" fmla="*/ 8364512 w 8388689"/>
                <a:gd name="connsiteY2" fmla="*/ 1424333 h 5283090"/>
                <a:gd name="connsiteX3" fmla="*/ 8354352 w 8388689"/>
                <a:gd name="connsiteY3" fmla="*/ 5283090 h 5283090"/>
                <a:gd name="connsiteX4" fmla="*/ 8366001 w 8388689"/>
                <a:gd name="connsiteY4" fmla="*/ 5262770 h 5283090"/>
                <a:gd name="connsiteX5" fmla="*/ 8345681 w 8388689"/>
                <a:gd name="connsiteY5" fmla="*/ 1129693 h 5283090"/>
                <a:gd name="connsiteX6" fmla="*/ 3422923 w 8388689"/>
                <a:gd name="connsiteY6" fmla="*/ 1129696 h 5283090"/>
                <a:gd name="connsiteX7" fmla="*/ 3417930 w 8388689"/>
                <a:gd name="connsiteY7" fmla="*/ 5252612 h 5283090"/>
                <a:gd name="connsiteX8" fmla="*/ 0 w 8388689"/>
                <a:gd name="connsiteY8" fmla="*/ 5252612 h 5283090"/>
                <a:gd name="connsiteX9" fmla="*/ 0 w 8388689"/>
                <a:gd name="connsiteY9" fmla="*/ 20321 h 5283090"/>
                <a:gd name="connsiteX10" fmla="*/ 207370 w 8388689"/>
                <a:gd name="connsiteY10" fmla="*/ 20321 h 5283090"/>
                <a:gd name="connsiteX11" fmla="*/ 207370 w 8388689"/>
                <a:gd name="connsiteY11" fmla="*/ 20322 h 5283090"/>
                <a:gd name="connsiteX0" fmla="*/ 207370 w 8388689"/>
                <a:gd name="connsiteY0" fmla="*/ 20321 h 5283090"/>
                <a:gd name="connsiteX1" fmla="*/ 8386247 w 8388689"/>
                <a:gd name="connsiteY1" fmla="*/ 0 h 5283090"/>
                <a:gd name="connsiteX2" fmla="*/ 8364512 w 8388689"/>
                <a:gd name="connsiteY2" fmla="*/ 1424333 h 5283090"/>
                <a:gd name="connsiteX3" fmla="*/ 8354352 w 8388689"/>
                <a:gd name="connsiteY3" fmla="*/ 5283090 h 5283090"/>
                <a:gd name="connsiteX4" fmla="*/ 8366001 w 8388689"/>
                <a:gd name="connsiteY4" fmla="*/ 5262770 h 5283090"/>
                <a:gd name="connsiteX5" fmla="*/ 8345681 w 8388689"/>
                <a:gd name="connsiteY5" fmla="*/ 1129693 h 5283090"/>
                <a:gd name="connsiteX6" fmla="*/ 3422923 w 8388689"/>
                <a:gd name="connsiteY6" fmla="*/ 1129696 h 5283090"/>
                <a:gd name="connsiteX7" fmla="*/ 3417930 w 8388689"/>
                <a:gd name="connsiteY7" fmla="*/ 5252612 h 5283090"/>
                <a:gd name="connsiteX8" fmla="*/ 0 w 8388689"/>
                <a:gd name="connsiteY8" fmla="*/ 5252612 h 5283090"/>
                <a:gd name="connsiteX9" fmla="*/ 0 w 8388689"/>
                <a:gd name="connsiteY9" fmla="*/ 20321 h 5283090"/>
                <a:gd name="connsiteX10" fmla="*/ 207370 w 8388689"/>
                <a:gd name="connsiteY10" fmla="*/ 20321 h 5283090"/>
                <a:gd name="connsiteX0" fmla="*/ 0 w 8388689"/>
                <a:gd name="connsiteY0" fmla="*/ 20321 h 5283090"/>
                <a:gd name="connsiteX1" fmla="*/ 8386247 w 8388689"/>
                <a:gd name="connsiteY1" fmla="*/ 0 h 5283090"/>
                <a:gd name="connsiteX2" fmla="*/ 8364512 w 8388689"/>
                <a:gd name="connsiteY2" fmla="*/ 1424333 h 5283090"/>
                <a:gd name="connsiteX3" fmla="*/ 8354352 w 8388689"/>
                <a:gd name="connsiteY3" fmla="*/ 5283090 h 5283090"/>
                <a:gd name="connsiteX4" fmla="*/ 8366001 w 8388689"/>
                <a:gd name="connsiteY4" fmla="*/ 5262770 h 5283090"/>
                <a:gd name="connsiteX5" fmla="*/ 8345681 w 8388689"/>
                <a:gd name="connsiteY5" fmla="*/ 1129693 h 5283090"/>
                <a:gd name="connsiteX6" fmla="*/ 3422923 w 8388689"/>
                <a:gd name="connsiteY6" fmla="*/ 1129696 h 5283090"/>
                <a:gd name="connsiteX7" fmla="*/ 3417930 w 8388689"/>
                <a:gd name="connsiteY7" fmla="*/ 5252612 h 5283090"/>
                <a:gd name="connsiteX8" fmla="*/ 0 w 8388689"/>
                <a:gd name="connsiteY8" fmla="*/ 5252612 h 5283090"/>
                <a:gd name="connsiteX9" fmla="*/ 0 w 8388689"/>
                <a:gd name="connsiteY9" fmla="*/ 20321 h 5283090"/>
                <a:gd name="connsiteX0" fmla="*/ 0 w 8398849"/>
                <a:gd name="connsiteY0" fmla="*/ 1 h 5283090"/>
                <a:gd name="connsiteX1" fmla="*/ 8396407 w 8398849"/>
                <a:gd name="connsiteY1" fmla="*/ 0 h 5283090"/>
                <a:gd name="connsiteX2" fmla="*/ 8374672 w 8398849"/>
                <a:gd name="connsiteY2" fmla="*/ 1424333 h 5283090"/>
                <a:gd name="connsiteX3" fmla="*/ 8364512 w 8398849"/>
                <a:gd name="connsiteY3" fmla="*/ 5283090 h 5283090"/>
                <a:gd name="connsiteX4" fmla="*/ 8376161 w 8398849"/>
                <a:gd name="connsiteY4" fmla="*/ 5262770 h 5283090"/>
                <a:gd name="connsiteX5" fmla="*/ 8355841 w 8398849"/>
                <a:gd name="connsiteY5" fmla="*/ 1129693 h 5283090"/>
                <a:gd name="connsiteX6" fmla="*/ 3433083 w 8398849"/>
                <a:gd name="connsiteY6" fmla="*/ 1129696 h 5283090"/>
                <a:gd name="connsiteX7" fmla="*/ 3428090 w 8398849"/>
                <a:gd name="connsiteY7" fmla="*/ 5252612 h 5283090"/>
                <a:gd name="connsiteX8" fmla="*/ 10160 w 8398849"/>
                <a:gd name="connsiteY8" fmla="*/ 5252612 h 5283090"/>
                <a:gd name="connsiteX9" fmla="*/ 0 w 8398849"/>
                <a:gd name="connsiteY9" fmla="*/ 1 h 5283090"/>
                <a:gd name="connsiteX0" fmla="*/ 978 w 8389667"/>
                <a:gd name="connsiteY0" fmla="*/ 1 h 5283090"/>
                <a:gd name="connsiteX1" fmla="*/ 8387225 w 8389667"/>
                <a:gd name="connsiteY1" fmla="*/ 0 h 5283090"/>
                <a:gd name="connsiteX2" fmla="*/ 8365490 w 8389667"/>
                <a:gd name="connsiteY2" fmla="*/ 1424333 h 5283090"/>
                <a:gd name="connsiteX3" fmla="*/ 8355330 w 8389667"/>
                <a:gd name="connsiteY3" fmla="*/ 5283090 h 5283090"/>
                <a:gd name="connsiteX4" fmla="*/ 8366979 w 8389667"/>
                <a:gd name="connsiteY4" fmla="*/ 5262770 h 5283090"/>
                <a:gd name="connsiteX5" fmla="*/ 8346659 w 8389667"/>
                <a:gd name="connsiteY5" fmla="*/ 1129693 h 5283090"/>
                <a:gd name="connsiteX6" fmla="*/ 3423901 w 8389667"/>
                <a:gd name="connsiteY6" fmla="*/ 1129696 h 5283090"/>
                <a:gd name="connsiteX7" fmla="*/ 3418908 w 8389667"/>
                <a:gd name="connsiteY7" fmla="*/ 5252612 h 5283090"/>
                <a:gd name="connsiteX8" fmla="*/ 978 w 8389667"/>
                <a:gd name="connsiteY8" fmla="*/ 5252612 h 5283090"/>
                <a:gd name="connsiteX9" fmla="*/ 978 w 8389667"/>
                <a:gd name="connsiteY9" fmla="*/ 1 h 5283090"/>
                <a:gd name="connsiteX0" fmla="*/ 978 w 8389667"/>
                <a:gd name="connsiteY0" fmla="*/ 10161 h 5283090"/>
                <a:gd name="connsiteX1" fmla="*/ 8387225 w 8389667"/>
                <a:gd name="connsiteY1" fmla="*/ 0 h 5283090"/>
                <a:gd name="connsiteX2" fmla="*/ 8365490 w 8389667"/>
                <a:gd name="connsiteY2" fmla="*/ 1424333 h 5283090"/>
                <a:gd name="connsiteX3" fmla="*/ 8355330 w 8389667"/>
                <a:gd name="connsiteY3" fmla="*/ 5283090 h 5283090"/>
                <a:gd name="connsiteX4" fmla="*/ 8366979 w 8389667"/>
                <a:gd name="connsiteY4" fmla="*/ 5262770 h 5283090"/>
                <a:gd name="connsiteX5" fmla="*/ 8346659 w 8389667"/>
                <a:gd name="connsiteY5" fmla="*/ 1129693 h 5283090"/>
                <a:gd name="connsiteX6" fmla="*/ 3423901 w 8389667"/>
                <a:gd name="connsiteY6" fmla="*/ 1129696 h 5283090"/>
                <a:gd name="connsiteX7" fmla="*/ 3418908 w 8389667"/>
                <a:gd name="connsiteY7" fmla="*/ 5252612 h 5283090"/>
                <a:gd name="connsiteX8" fmla="*/ 978 w 8389667"/>
                <a:gd name="connsiteY8" fmla="*/ 5252612 h 5283090"/>
                <a:gd name="connsiteX9" fmla="*/ 978 w 8389667"/>
                <a:gd name="connsiteY9" fmla="*/ 10161 h 528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89667" h="5283090">
                  <a:moveTo>
                    <a:pt x="978" y="10161"/>
                  </a:moveTo>
                  <a:lnTo>
                    <a:pt x="8387225" y="0"/>
                  </a:lnTo>
                  <a:cubicBezTo>
                    <a:pt x="8398799" y="1000439"/>
                    <a:pt x="8365490" y="956329"/>
                    <a:pt x="8365490" y="1424333"/>
                  </a:cubicBezTo>
                  <a:cubicBezTo>
                    <a:pt x="8368877" y="2710585"/>
                    <a:pt x="8351943" y="3996838"/>
                    <a:pt x="8355330" y="5283090"/>
                  </a:cubicBezTo>
                  <a:lnTo>
                    <a:pt x="8366979" y="5262770"/>
                  </a:lnTo>
                  <a:cubicBezTo>
                    <a:pt x="8363592" y="3993451"/>
                    <a:pt x="8350046" y="2399012"/>
                    <a:pt x="8346659" y="1129693"/>
                  </a:cubicBezTo>
                  <a:lnTo>
                    <a:pt x="3423901" y="1129696"/>
                  </a:lnTo>
                  <a:cubicBezTo>
                    <a:pt x="3425623" y="2402401"/>
                    <a:pt x="3417186" y="3979907"/>
                    <a:pt x="3418908" y="5252612"/>
                  </a:cubicBezTo>
                  <a:lnTo>
                    <a:pt x="978" y="5252612"/>
                  </a:lnTo>
                  <a:cubicBezTo>
                    <a:pt x="-2409" y="3501742"/>
                    <a:pt x="4365" y="1761031"/>
                    <a:pt x="978" y="10161"/>
                  </a:cubicBezTo>
                  <a:close/>
                </a:path>
              </a:pathLst>
            </a:custGeom>
            <a:solidFill>
              <a:schemeClr val="tx1">
                <a:lumMod val="85000"/>
                <a:lumOff val="1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yellow highlight">
              <a:extLst>
                <a:ext uri="{FF2B5EF4-FFF2-40B4-BE49-F238E27FC236}">
                  <a16:creationId xmlns:a16="http://schemas.microsoft.com/office/drawing/2014/main" id="{0A6F45B1-331F-644C-89DD-FCF29D6DF1E5}"/>
                </a:ext>
              </a:extLst>
            </p:cNvPr>
            <p:cNvSpPr/>
            <p:nvPr/>
          </p:nvSpPr>
          <p:spPr>
            <a:xfrm>
              <a:off x="5175535" y="2519680"/>
              <a:ext cx="4943757" cy="4130307"/>
            </a:xfrm>
            <a:prstGeom prst="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7" name="Left section">
            <a:extLst>
              <a:ext uri="{FF2B5EF4-FFF2-40B4-BE49-F238E27FC236}">
                <a16:creationId xmlns:a16="http://schemas.microsoft.com/office/drawing/2014/main" id="{3FB0C54E-6CF2-784D-880A-BE0D936C7D2D}"/>
              </a:ext>
            </a:extLst>
          </p:cNvPr>
          <p:cNvGrpSpPr/>
          <p:nvPr/>
        </p:nvGrpSpPr>
        <p:grpSpPr>
          <a:xfrm>
            <a:off x="1768837" y="1423608"/>
            <a:ext cx="8364512" cy="5232292"/>
            <a:chOff x="1768837" y="1423608"/>
            <a:chExt cx="8364512" cy="5232292"/>
          </a:xfrm>
        </p:grpSpPr>
        <p:sp>
          <p:nvSpPr>
            <p:cNvPr id="58" name="Freeform 57">
              <a:extLst>
                <a:ext uri="{FF2B5EF4-FFF2-40B4-BE49-F238E27FC236}">
                  <a16:creationId xmlns:a16="http://schemas.microsoft.com/office/drawing/2014/main" id="{C61AF3C9-BFCA-FC4C-86E3-0CC27FAFF887}"/>
                </a:ext>
              </a:extLst>
            </p:cNvPr>
            <p:cNvSpPr/>
            <p:nvPr/>
          </p:nvSpPr>
          <p:spPr>
            <a:xfrm>
              <a:off x="1768837" y="1423608"/>
              <a:ext cx="8364512" cy="5232292"/>
            </a:xfrm>
            <a:custGeom>
              <a:avLst/>
              <a:gdLst>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1822961 w 8364512"/>
                <a:gd name="connsiteY4" fmla="*/ 5232290 h 5232292"/>
                <a:gd name="connsiteX5" fmla="*/ 1822961 w 8364512"/>
                <a:gd name="connsiteY5" fmla="*/ 1404013 h 5232292"/>
                <a:gd name="connsiteX6" fmla="*/ 791483 w 8364512"/>
                <a:gd name="connsiteY6" fmla="*/ 1404013 h 5232292"/>
                <a:gd name="connsiteX7" fmla="*/ 791483 w 8364512"/>
                <a:gd name="connsiteY7" fmla="*/ 1404016 h 5232292"/>
                <a:gd name="connsiteX8" fmla="*/ 207370 w 8364512"/>
                <a:gd name="connsiteY8" fmla="*/ 1404016 h 5232292"/>
                <a:gd name="connsiteX9" fmla="*/ 2073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64512" h="5232292">
                  <a:moveTo>
                    <a:pt x="211080" y="0"/>
                  </a:moveTo>
                  <a:lnTo>
                    <a:pt x="8364512" y="0"/>
                  </a:lnTo>
                  <a:lnTo>
                    <a:pt x="8364512" y="1404013"/>
                  </a:lnTo>
                  <a:lnTo>
                    <a:pt x="8364512" y="5232290"/>
                  </a:lnTo>
                  <a:lnTo>
                    <a:pt x="1822961" y="5232290"/>
                  </a:lnTo>
                  <a:lnTo>
                    <a:pt x="1822961" y="1404013"/>
                  </a:lnTo>
                  <a:lnTo>
                    <a:pt x="791483" y="1404013"/>
                  </a:lnTo>
                  <a:lnTo>
                    <a:pt x="791483" y="1404016"/>
                  </a:lnTo>
                  <a:lnTo>
                    <a:pt x="207370" y="1404016"/>
                  </a:lnTo>
                  <a:lnTo>
                    <a:pt x="207370" y="5232292"/>
                  </a:lnTo>
                  <a:lnTo>
                    <a:pt x="0" y="5232292"/>
                  </a:lnTo>
                  <a:lnTo>
                    <a:pt x="0" y="1"/>
                  </a:lnTo>
                  <a:lnTo>
                    <a:pt x="207370" y="1"/>
                  </a:lnTo>
                  <a:lnTo>
                    <a:pt x="207370" y="2"/>
                  </a:lnTo>
                  <a:lnTo>
                    <a:pt x="211080" y="2"/>
                  </a:lnTo>
                  <a:close/>
                </a:path>
              </a:pathLst>
            </a:custGeom>
            <a:solidFill>
              <a:schemeClr val="tx1">
                <a:lumMod val="85000"/>
                <a:lumOff val="1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yellow highlight">
              <a:extLst>
                <a:ext uri="{FF2B5EF4-FFF2-40B4-BE49-F238E27FC236}">
                  <a16:creationId xmlns:a16="http://schemas.microsoft.com/office/drawing/2014/main" id="{F4FAE299-2404-C34B-ACD4-B913915CD26B}"/>
                </a:ext>
              </a:extLst>
            </p:cNvPr>
            <p:cNvSpPr/>
            <p:nvPr/>
          </p:nvSpPr>
          <p:spPr>
            <a:xfrm>
              <a:off x="1979007" y="2827624"/>
              <a:ext cx="1612793" cy="3828275"/>
            </a:xfrm>
            <a:prstGeom prst="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6" name="Section to pages highlight">
            <a:extLst>
              <a:ext uri="{FF2B5EF4-FFF2-40B4-BE49-F238E27FC236}">
                <a16:creationId xmlns:a16="http://schemas.microsoft.com/office/drawing/2014/main" id="{168E15DA-9586-4043-AADE-4E1683143C81}"/>
              </a:ext>
            </a:extLst>
          </p:cNvPr>
          <p:cNvGrpSpPr/>
          <p:nvPr/>
        </p:nvGrpSpPr>
        <p:grpSpPr>
          <a:xfrm>
            <a:off x="1756455" y="1417693"/>
            <a:ext cx="8383890" cy="5243101"/>
            <a:chOff x="1756455" y="1417693"/>
            <a:chExt cx="8383890" cy="5243101"/>
          </a:xfrm>
        </p:grpSpPr>
        <p:sp>
          <p:nvSpPr>
            <p:cNvPr id="75" name="Freeform 74">
              <a:extLst>
                <a:ext uri="{FF2B5EF4-FFF2-40B4-BE49-F238E27FC236}">
                  <a16:creationId xmlns:a16="http://schemas.microsoft.com/office/drawing/2014/main" id="{7F562A8E-A72A-0644-86B5-78334D3286FE}"/>
                </a:ext>
              </a:extLst>
            </p:cNvPr>
            <p:cNvSpPr/>
            <p:nvPr/>
          </p:nvSpPr>
          <p:spPr>
            <a:xfrm>
              <a:off x="1756455" y="1417693"/>
              <a:ext cx="8383890" cy="5243101"/>
            </a:xfrm>
            <a:custGeom>
              <a:avLst/>
              <a:gdLst>
                <a:gd name="connsiteX0" fmla="*/ 210619 w 8379119"/>
                <a:gd name="connsiteY0" fmla="*/ 1404016 h 5250030"/>
                <a:gd name="connsiteX1" fmla="*/ 210619 w 8379119"/>
                <a:gd name="connsiteY1" fmla="*/ 1722651 h 5250030"/>
                <a:gd name="connsiteX2" fmla="*/ 1796903 w 8379119"/>
                <a:gd name="connsiteY2" fmla="*/ 1722651 h 5250030"/>
                <a:gd name="connsiteX3" fmla="*/ 1796903 w 8379119"/>
                <a:gd name="connsiteY3" fmla="*/ 2311989 h 5250030"/>
                <a:gd name="connsiteX4" fmla="*/ 3446943 w 8379119"/>
                <a:gd name="connsiteY4" fmla="*/ 2311989 h 5250030"/>
                <a:gd name="connsiteX5" fmla="*/ 3446943 w 8379119"/>
                <a:gd name="connsiteY5" fmla="*/ 1404016 h 5250030"/>
                <a:gd name="connsiteX6" fmla="*/ 0 w 8379119"/>
                <a:gd name="connsiteY6" fmla="*/ 0 h 5250030"/>
                <a:gd name="connsiteX7" fmla="*/ 8373447 w 8379119"/>
                <a:gd name="connsiteY7" fmla="*/ 0 h 5250030"/>
                <a:gd name="connsiteX8" fmla="*/ 8373447 w 8379119"/>
                <a:gd name="connsiteY8" fmla="*/ 602601 h 5250030"/>
                <a:gd name="connsiteX9" fmla="*/ 8379119 w 8379119"/>
                <a:gd name="connsiteY9" fmla="*/ 602601 h 5250030"/>
                <a:gd name="connsiteX10" fmla="*/ 8379119 w 8379119"/>
                <a:gd name="connsiteY10" fmla="*/ 5232291 h 5250030"/>
                <a:gd name="connsiteX11" fmla="*/ 3515295 w 8379119"/>
                <a:gd name="connsiteY11" fmla="*/ 5232291 h 5250030"/>
                <a:gd name="connsiteX12" fmla="*/ 3515295 w 8379119"/>
                <a:gd name="connsiteY12" fmla="*/ 5250030 h 5250030"/>
                <a:gd name="connsiteX13" fmla="*/ 1718393 w 8379119"/>
                <a:gd name="connsiteY13" fmla="*/ 5250030 h 5250030"/>
                <a:gd name="connsiteX14" fmla="*/ 1718393 w 8379119"/>
                <a:gd name="connsiteY14" fmla="*/ 5244117 h 5250030"/>
                <a:gd name="connsiteX15" fmla="*/ 0 w 8379119"/>
                <a:gd name="connsiteY15" fmla="*/ 5244117 h 5250030"/>
                <a:gd name="connsiteX16" fmla="*/ 0 w 8379119"/>
                <a:gd name="connsiteY16" fmla="*/ 1722651 h 5250030"/>
                <a:gd name="connsiteX17" fmla="*/ 1 w 8379119"/>
                <a:gd name="connsiteY17" fmla="*/ 1722651 h 5250030"/>
                <a:gd name="connsiteX18" fmla="*/ 1 w 8379119"/>
                <a:gd name="connsiteY18" fmla="*/ 1404016 h 5250030"/>
                <a:gd name="connsiteX19" fmla="*/ 0 w 8379119"/>
                <a:gd name="connsiteY19" fmla="*/ 1404016 h 5250030"/>
                <a:gd name="connsiteX0" fmla="*/ 210619 w 8379119"/>
                <a:gd name="connsiteY0" fmla="*/ 1404016 h 5250030"/>
                <a:gd name="connsiteX1" fmla="*/ 210619 w 8379119"/>
                <a:gd name="connsiteY1" fmla="*/ 1722651 h 5250030"/>
                <a:gd name="connsiteX2" fmla="*/ 1796903 w 8379119"/>
                <a:gd name="connsiteY2" fmla="*/ 1722651 h 5250030"/>
                <a:gd name="connsiteX3" fmla="*/ 1796903 w 8379119"/>
                <a:gd name="connsiteY3" fmla="*/ 2311989 h 5250030"/>
                <a:gd name="connsiteX4" fmla="*/ 3446943 w 8379119"/>
                <a:gd name="connsiteY4" fmla="*/ 2311989 h 5250030"/>
                <a:gd name="connsiteX5" fmla="*/ 3446943 w 8379119"/>
                <a:gd name="connsiteY5" fmla="*/ 1404016 h 5250030"/>
                <a:gd name="connsiteX6" fmla="*/ 210619 w 8379119"/>
                <a:gd name="connsiteY6" fmla="*/ 1404016 h 5250030"/>
                <a:gd name="connsiteX7" fmla="*/ 0 w 8379119"/>
                <a:gd name="connsiteY7" fmla="*/ 0 h 5250030"/>
                <a:gd name="connsiteX8" fmla="*/ 8373447 w 8379119"/>
                <a:gd name="connsiteY8" fmla="*/ 0 h 5250030"/>
                <a:gd name="connsiteX9" fmla="*/ 8373447 w 8379119"/>
                <a:gd name="connsiteY9" fmla="*/ 602601 h 5250030"/>
                <a:gd name="connsiteX10" fmla="*/ 8379119 w 8379119"/>
                <a:gd name="connsiteY10" fmla="*/ 602601 h 5250030"/>
                <a:gd name="connsiteX11" fmla="*/ 8379119 w 8379119"/>
                <a:gd name="connsiteY11" fmla="*/ 5232291 h 5250030"/>
                <a:gd name="connsiteX12" fmla="*/ 3515295 w 8379119"/>
                <a:gd name="connsiteY12" fmla="*/ 5250030 h 5250030"/>
                <a:gd name="connsiteX13" fmla="*/ 1718393 w 8379119"/>
                <a:gd name="connsiteY13" fmla="*/ 5250030 h 5250030"/>
                <a:gd name="connsiteX14" fmla="*/ 1718393 w 8379119"/>
                <a:gd name="connsiteY14" fmla="*/ 5244117 h 5250030"/>
                <a:gd name="connsiteX15" fmla="*/ 0 w 8379119"/>
                <a:gd name="connsiteY15" fmla="*/ 5244117 h 5250030"/>
                <a:gd name="connsiteX16" fmla="*/ 0 w 8379119"/>
                <a:gd name="connsiteY16" fmla="*/ 1722651 h 5250030"/>
                <a:gd name="connsiteX17" fmla="*/ 1 w 8379119"/>
                <a:gd name="connsiteY17" fmla="*/ 1722651 h 5250030"/>
                <a:gd name="connsiteX18" fmla="*/ 1 w 8379119"/>
                <a:gd name="connsiteY18" fmla="*/ 1404016 h 5250030"/>
                <a:gd name="connsiteX19" fmla="*/ 0 w 8379119"/>
                <a:gd name="connsiteY19" fmla="*/ 1404016 h 5250030"/>
                <a:gd name="connsiteX20" fmla="*/ 0 w 8379119"/>
                <a:gd name="connsiteY20" fmla="*/ 0 h 5250030"/>
                <a:gd name="connsiteX0" fmla="*/ 210619 w 8379119"/>
                <a:gd name="connsiteY0" fmla="*/ 1404016 h 5250030"/>
                <a:gd name="connsiteX1" fmla="*/ 210619 w 8379119"/>
                <a:gd name="connsiteY1" fmla="*/ 1722651 h 5250030"/>
                <a:gd name="connsiteX2" fmla="*/ 1796903 w 8379119"/>
                <a:gd name="connsiteY2" fmla="*/ 1722651 h 5250030"/>
                <a:gd name="connsiteX3" fmla="*/ 1796903 w 8379119"/>
                <a:gd name="connsiteY3" fmla="*/ 2311989 h 5250030"/>
                <a:gd name="connsiteX4" fmla="*/ 3446943 w 8379119"/>
                <a:gd name="connsiteY4" fmla="*/ 2311989 h 5250030"/>
                <a:gd name="connsiteX5" fmla="*/ 3446943 w 8379119"/>
                <a:gd name="connsiteY5" fmla="*/ 1404016 h 5250030"/>
                <a:gd name="connsiteX6" fmla="*/ 210619 w 8379119"/>
                <a:gd name="connsiteY6" fmla="*/ 1404016 h 5250030"/>
                <a:gd name="connsiteX7" fmla="*/ 0 w 8379119"/>
                <a:gd name="connsiteY7" fmla="*/ 0 h 5250030"/>
                <a:gd name="connsiteX8" fmla="*/ 8373447 w 8379119"/>
                <a:gd name="connsiteY8" fmla="*/ 0 h 5250030"/>
                <a:gd name="connsiteX9" fmla="*/ 8373447 w 8379119"/>
                <a:gd name="connsiteY9" fmla="*/ 602601 h 5250030"/>
                <a:gd name="connsiteX10" fmla="*/ 8379119 w 8379119"/>
                <a:gd name="connsiteY10" fmla="*/ 602601 h 5250030"/>
                <a:gd name="connsiteX11" fmla="*/ 8379119 w 8379119"/>
                <a:gd name="connsiteY11" fmla="*/ 5232291 h 5250030"/>
                <a:gd name="connsiteX12" fmla="*/ 1718393 w 8379119"/>
                <a:gd name="connsiteY12" fmla="*/ 5250030 h 5250030"/>
                <a:gd name="connsiteX13" fmla="*/ 1718393 w 8379119"/>
                <a:gd name="connsiteY13" fmla="*/ 5244117 h 5250030"/>
                <a:gd name="connsiteX14" fmla="*/ 0 w 8379119"/>
                <a:gd name="connsiteY14" fmla="*/ 5244117 h 5250030"/>
                <a:gd name="connsiteX15" fmla="*/ 0 w 8379119"/>
                <a:gd name="connsiteY15" fmla="*/ 1722651 h 5250030"/>
                <a:gd name="connsiteX16" fmla="*/ 1 w 8379119"/>
                <a:gd name="connsiteY16" fmla="*/ 1722651 h 5250030"/>
                <a:gd name="connsiteX17" fmla="*/ 1 w 8379119"/>
                <a:gd name="connsiteY17" fmla="*/ 1404016 h 5250030"/>
                <a:gd name="connsiteX18" fmla="*/ 0 w 8379119"/>
                <a:gd name="connsiteY18" fmla="*/ 1404016 h 5250030"/>
                <a:gd name="connsiteX19" fmla="*/ 0 w 8379119"/>
                <a:gd name="connsiteY19" fmla="*/ 0 h 5250030"/>
                <a:gd name="connsiteX0" fmla="*/ 210619 w 8379119"/>
                <a:gd name="connsiteY0" fmla="*/ 1404016 h 5250030"/>
                <a:gd name="connsiteX1" fmla="*/ 210619 w 8379119"/>
                <a:gd name="connsiteY1" fmla="*/ 1722651 h 5250030"/>
                <a:gd name="connsiteX2" fmla="*/ 1796903 w 8379119"/>
                <a:gd name="connsiteY2" fmla="*/ 1722651 h 5250030"/>
                <a:gd name="connsiteX3" fmla="*/ 1796903 w 8379119"/>
                <a:gd name="connsiteY3" fmla="*/ 2311989 h 5250030"/>
                <a:gd name="connsiteX4" fmla="*/ 3446943 w 8379119"/>
                <a:gd name="connsiteY4" fmla="*/ 2311989 h 5250030"/>
                <a:gd name="connsiteX5" fmla="*/ 3446943 w 8379119"/>
                <a:gd name="connsiteY5" fmla="*/ 1404016 h 5250030"/>
                <a:gd name="connsiteX6" fmla="*/ 210619 w 8379119"/>
                <a:gd name="connsiteY6" fmla="*/ 1404016 h 5250030"/>
                <a:gd name="connsiteX7" fmla="*/ 0 w 8379119"/>
                <a:gd name="connsiteY7" fmla="*/ 0 h 5250030"/>
                <a:gd name="connsiteX8" fmla="*/ 8373447 w 8379119"/>
                <a:gd name="connsiteY8" fmla="*/ 0 h 5250030"/>
                <a:gd name="connsiteX9" fmla="*/ 8373447 w 8379119"/>
                <a:gd name="connsiteY9" fmla="*/ 602601 h 5250030"/>
                <a:gd name="connsiteX10" fmla="*/ 8379119 w 8379119"/>
                <a:gd name="connsiteY10" fmla="*/ 602601 h 5250030"/>
                <a:gd name="connsiteX11" fmla="*/ 8379119 w 8379119"/>
                <a:gd name="connsiteY11" fmla="*/ 5232291 h 5250030"/>
                <a:gd name="connsiteX12" fmla="*/ 1718393 w 8379119"/>
                <a:gd name="connsiteY12" fmla="*/ 5250030 h 5250030"/>
                <a:gd name="connsiteX13" fmla="*/ 0 w 8379119"/>
                <a:gd name="connsiteY13" fmla="*/ 5244117 h 5250030"/>
                <a:gd name="connsiteX14" fmla="*/ 0 w 8379119"/>
                <a:gd name="connsiteY14" fmla="*/ 1722651 h 5250030"/>
                <a:gd name="connsiteX15" fmla="*/ 1 w 8379119"/>
                <a:gd name="connsiteY15" fmla="*/ 1722651 h 5250030"/>
                <a:gd name="connsiteX16" fmla="*/ 1 w 8379119"/>
                <a:gd name="connsiteY16" fmla="*/ 1404016 h 5250030"/>
                <a:gd name="connsiteX17" fmla="*/ 0 w 8379119"/>
                <a:gd name="connsiteY17" fmla="*/ 1404016 h 5250030"/>
                <a:gd name="connsiteX18" fmla="*/ 0 w 8379119"/>
                <a:gd name="connsiteY18" fmla="*/ 0 h 5250030"/>
                <a:gd name="connsiteX0" fmla="*/ 210619 w 8379119"/>
                <a:gd name="connsiteY0" fmla="*/ 1404016 h 5244117"/>
                <a:gd name="connsiteX1" fmla="*/ 210619 w 8379119"/>
                <a:gd name="connsiteY1" fmla="*/ 1722651 h 5244117"/>
                <a:gd name="connsiteX2" fmla="*/ 1796903 w 8379119"/>
                <a:gd name="connsiteY2" fmla="*/ 1722651 h 5244117"/>
                <a:gd name="connsiteX3" fmla="*/ 1796903 w 8379119"/>
                <a:gd name="connsiteY3" fmla="*/ 2311989 h 5244117"/>
                <a:gd name="connsiteX4" fmla="*/ 3446943 w 8379119"/>
                <a:gd name="connsiteY4" fmla="*/ 2311989 h 5244117"/>
                <a:gd name="connsiteX5" fmla="*/ 3446943 w 8379119"/>
                <a:gd name="connsiteY5" fmla="*/ 1404016 h 5244117"/>
                <a:gd name="connsiteX6" fmla="*/ 210619 w 8379119"/>
                <a:gd name="connsiteY6" fmla="*/ 1404016 h 5244117"/>
                <a:gd name="connsiteX7" fmla="*/ 0 w 8379119"/>
                <a:gd name="connsiteY7" fmla="*/ 0 h 5244117"/>
                <a:gd name="connsiteX8" fmla="*/ 8373447 w 8379119"/>
                <a:gd name="connsiteY8" fmla="*/ 0 h 5244117"/>
                <a:gd name="connsiteX9" fmla="*/ 8373447 w 8379119"/>
                <a:gd name="connsiteY9" fmla="*/ 602601 h 5244117"/>
                <a:gd name="connsiteX10" fmla="*/ 8379119 w 8379119"/>
                <a:gd name="connsiteY10" fmla="*/ 602601 h 5244117"/>
                <a:gd name="connsiteX11" fmla="*/ 8379119 w 8379119"/>
                <a:gd name="connsiteY11" fmla="*/ 5232291 h 5244117"/>
                <a:gd name="connsiteX12" fmla="*/ 0 w 8379119"/>
                <a:gd name="connsiteY12" fmla="*/ 5244117 h 5244117"/>
                <a:gd name="connsiteX13" fmla="*/ 0 w 8379119"/>
                <a:gd name="connsiteY13" fmla="*/ 1722651 h 5244117"/>
                <a:gd name="connsiteX14" fmla="*/ 1 w 8379119"/>
                <a:gd name="connsiteY14" fmla="*/ 1722651 h 5244117"/>
                <a:gd name="connsiteX15" fmla="*/ 1 w 8379119"/>
                <a:gd name="connsiteY15" fmla="*/ 1404016 h 5244117"/>
                <a:gd name="connsiteX16" fmla="*/ 0 w 8379119"/>
                <a:gd name="connsiteY16" fmla="*/ 1404016 h 5244117"/>
                <a:gd name="connsiteX17" fmla="*/ 0 w 8379119"/>
                <a:gd name="connsiteY17" fmla="*/ 0 h 5244117"/>
                <a:gd name="connsiteX0" fmla="*/ 210619 w 8379119"/>
                <a:gd name="connsiteY0" fmla="*/ 1404016 h 5244117"/>
                <a:gd name="connsiteX1" fmla="*/ 210619 w 8379119"/>
                <a:gd name="connsiteY1" fmla="*/ 1722651 h 5244117"/>
                <a:gd name="connsiteX2" fmla="*/ 1796903 w 8379119"/>
                <a:gd name="connsiteY2" fmla="*/ 1722651 h 5244117"/>
                <a:gd name="connsiteX3" fmla="*/ 1796903 w 8379119"/>
                <a:gd name="connsiteY3" fmla="*/ 2311989 h 5244117"/>
                <a:gd name="connsiteX4" fmla="*/ 3446943 w 8379119"/>
                <a:gd name="connsiteY4" fmla="*/ 2311989 h 5244117"/>
                <a:gd name="connsiteX5" fmla="*/ 3446943 w 8379119"/>
                <a:gd name="connsiteY5" fmla="*/ 1404016 h 5244117"/>
                <a:gd name="connsiteX6" fmla="*/ 210619 w 8379119"/>
                <a:gd name="connsiteY6" fmla="*/ 1404016 h 5244117"/>
                <a:gd name="connsiteX7" fmla="*/ 0 w 8379119"/>
                <a:gd name="connsiteY7" fmla="*/ 0 h 5244117"/>
                <a:gd name="connsiteX8" fmla="*/ 8373447 w 8379119"/>
                <a:gd name="connsiteY8" fmla="*/ 0 h 5244117"/>
                <a:gd name="connsiteX9" fmla="*/ 8373447 w 8379119"/>
                <a:gd name="connsiteY9" fmla="*/ 602601 h 5244117"/>
                <a:gd name="connsiteX10" fmla="*/ 8379119 w 8379119"/>
                <a:gd name="connsiteY10" fmla="*/ 5232291 h 5244117"/>
                <a:gd name="connsiteX11" fmla="*/ 0 w 8379119"/>
                <a:gd name="connsiteY11" fmla="*/ 5244117 h 5244117"/>
                <a:gd name="connsiteX12" fmla="*/ 0 w 8379119"/>
                <a:gd name="connsiteY12" fmla="*/ 1722651 h 5244117"/>
                <a:gd name="connsiteX13" fmla="*/ 1 w 8379119"/>
                <a:gd name="connsiteY13" fmla="*/ 1722651 h 5244117"/>
                <a:gd name="connsiteX14" fmla="*/ 1 w 8379119"/>
                <a:gd name="connsiteY14" fmla="*/ 1404016 h 5244117"/>
                <a:gd name="connsiteX15" fmla="*/ 0 w 8379119"/>
                <a:gd name="connsiteY15" fmla="*/ 1404016 h 5244117"/>
                <a:gd name="connsiteX16" fmla="*/ 0 w 8379119"/>
                <a:gd name="connsiteY16" fmla="*/ 0 h 5244117"/>
                <a:gd name="connsiteX0" fmla="*/ 210619 w 8379119"/>
                <a:gd name="connsiteY0" fmla="*/ 1404016 h 5244117"/>
                <a:gd name="connsiteX1" fmla="*/ 210619 w 8379119"/>
                <a:gd name="connsiteY1" fmla="*/ 1722651 h 5244117"/>
                <a:gd name="connsiteX2" fmla="*/ 1796903 w 8379119"/>
                <a:gd name="connsiteY2" fmla="*/ 1722651 h 5244117"/>
                <a:gd name="connsiteX3" fmla="*/ 1796903 w 8379119"/>
                <a:gd name="connsiteY3" fmla="*/ 2311989 h 5244117"/>
                <a:gd name="connsiteX4" fmla="*/ 3446943 w 8379119"/>
                <a:gd name="connsiteY4" fmla="*/ 2311989 h 5244117"/>
                <a:gd name="connsiteX5" fmla="*/ 3446943 w 8379119"/>
                <a:gd name="connsiteY5" fmla="*/ 1404016 h 5244117"/>
                <a:gd name="connsiteX6" fmla="*/ 210619 w 8379119"/>
                <a:gd name="connsiteY6" fmla="*/ 1404016 h 5244117"/>
                <a:gd name="connsiteX7" fmla="*/ 0 w 8379119"/>
                <a:gd name="connsiteY7" fmla="*/ 0 h 5244117"/>
                <a:gd name="connsiteX8" fmla="*/ 8373447 w 8379119"/>
                <a:gd name="connsiteY8" fmla="*/ 0 h 5244117"/>
                <a:gd name="connsiteX9" fmla="*/ 8379119 w 8379119"/>
                <a:gd name="connsiteY9" fmla="*/ 5232291 h 5244117"/>
                <a:gd name="connsiteX10" fmla="*/ 0 w 8379119"/>
                <a:gd name="connsiteY10" fmla="*/ 5244117 h 5244117"/>
                <a:gd name="connsiteX11" fmla="*/ 0 w 8379119"/>
                <a:gd name="connsiteY11" fmla="*/ 1722651 h 5244117"/>
                <a:gd name="connsiteX12" fmla="*/ 1 w 8379119"/>
                <a:gd name="connsiteY12" fmla="*/ 1722651 h 5244117"/>
                <a:gd name="connsiteX13" fmla="*/ 1 w 8379119"/>
                <a:gd name="connsiteY13" fmla="*/ 1404016 h 5244117"/>
                <a:gd name="connsiteX14" fmla="*/ 0 w 8379119"/>
                <a:gd name="connsiteY14" fmla="*/ 1404016 h 5244117"/>
                <a:gd name="connsiteX15" fmla="*/ 0 w 8379119"/>
                <a:gd name="connsiteY15" fmla="*/ 0 h 5244117"/>
                <a:gd name="connsiteX0" fmla="*/ 210619 w 8379119"/>
                <a:gd name="connsiteY0" fmla="*/ 1404016 h 5244117"/>
                <a:gd name="connsiteX1" fmla="*/ 210619 w 8379119"/>
                <a:gd name="connsiteY1" fmla="*/ 1722651 h 5244117"/>
                <a:gd name="connsiteX2" fmla="*/ 1796903 w 8379119"/>
                <a:gd name="connsiteY2" fmla="*/ 1722651 h 5244117"/>
                <a:gd name="connsiteX3" fmla="*/ 1796903 w 8379119"/>
                <a:gd name="connsiteY3" fmla="*/ 2311989 h 5244117"/>
                <a:gd name="connsiteX4" fmla="*/ 3446943 w 8379119"/>
                <a:gd name="connsiteY4" fmla="*/ 2311989 h 5244117"/>
                <a:gd name="connsiteX5" fmla="*/ 3446943 w 8379119"/>
                <a:gd name="connsiteY5" fmla="*/ 1404016 h 5244117"/>
                <a:gd name="connsiteX6" fmla="*/ 210619 w 8379119"/>
                <a:gd name="connsiteY6" fmla="*/ 1404016 h 5244117"/>
                <a:gd name="connsiteX7" fmla="*/ 0 w 8379119"/>
                <a:gd name="connsiteY7" fmla="*/ 0 h 5244117"/>
                <a:gd name="connsiteX8" fmla="*/ 8373447 w 8379119"/>
                <a:gd name="connsiteY8" fmla="*/ 0 h 5244117"/>
                <a:gd name="connsiteX9" fmla="*/ 8379119 w 8379119"/>
                <a:gd name="connsiteY9" fmla="*/ 5232291 h 5244117"/>
                <a:gd name="connsiteX10" fmla="*/ 0 w 8379119"/>
                <a:gd name="connsiteY10" fmla="*/ 5244117 h 5244117"/>
                <a:gd name="connsiteX11" fmla="*/ 0 w 8379119"/>
                <a:gd name="connsiteY11" fmla="*/ 1722651 h 5244117"/>
                <a:gd name="connsiteX12" fmla="*/ 1 w 8379119"/>
                <a:gd name="connsiteY12" fmla="*/ 1722651 h 5244117"/>
                <a:gd name="connsiteX13" fmla="*/ 1 w 8379119"/>
                <a:gd name="connsiteY13" fmla="*/ 1404016 h 5244117"/>
                <a:gd name="connsiteX14" fmla="*/ 0 w 8379119"/>
                <a:gd name="connsiteY14" fmla="*/ 1404016 h 5244117"/>
                <a:gd name="connsiteX15" fmla="*/ 0 w 8379119"/>
                <a:gd name="connsiteY15" fmla="*/ 0 h 5244117"/>
                <a:gd name="connsiteX0" fmla="*/ 210619 w 8373730"/>
                <a:gd name="connsiteY0" fmla="*/ 1404016 h 5244117"/>
                <a:gd name="connsiteX1" fmla="*/ 210619 w 8373730"/>
                <a:gd name="connsiteY1" fmla="*/ 1722651 h 5244117"/>
                <a:gd name="connsiteX2" fmla="*/ 1796903 w 8373730"/>
                <a:gd name="connsiteY2" fmla="*/ 1722651 h 5244117"/>
                <a:gd name="connsiteX3" fmla="*/ 1796903 w 8373730"/>
                <a:gd name="connsiteY3" fmla="*/ 2311989 h 5244117"/>
                <a:gd name="connsiteX4" fmla="*/ 3446943 w 8373730"/>
                <a:gd name="connsiteY4" fmla="*/ 2311989 h 5244117"/>
                <a:gd name="connsiteX5" fmla="*/ 3446943 w 8373730"/>
                <a:gd name="connsiteY5" fmla="*/ 1404016 h 5244117"/>
                <a:gd name="connsiteX6" fmla="*/ 210619 w 8373730"/>
                <a:gd name="connsiteY6" fmla="*/ 1404016 h 5244117"/>
                <a:gd name="connsiteX7" fmla="*/ 0 w 8373730"/>
                <a:gd name="connsiteY7" fmla="*/ 0 h 5244117"/>
                <a:gd name="connsiteX8" fmla="*/ 8373447 w 8373730"/>
                <a:gd name="connsiteY8" fmla="*/ 0 h 5244117"/>
                <a:gd name="connsiteX9" fmla="*/ 8368959 w 8373730"/>
                <a:gd name="connsiteY9" fmla="*/ 5232291 h 5244117"/>
                <a:gd name="connsiteX10" fmla="*/ 0 w 8373730"/>
                <a:gd name="connsiteY10" fmla="*/ 5244117 h 5244117"/>
                <a:gd name="connsiteX11" fmla="*/ 0 w 8373730"/>
                <a:gd name="connsiteY11" fmla="*/ 1722651 h 5244117"/>
                <a:gd name="connsiteX12" fmla="*/ 1 w 8373730"/>
                <a:gd name="connsiteY12" fmla="*/ 1722651 h 5244117"/>
                <a:gd name="connsiteX13" fmla="*/ 1 w 8373730"/>
                <a:gd name="connsiteY13" fmla="*/ 1404016 h 5244117"/>
                <a:gd name="connsiteX14" fmla="*/ 0 w 8373730"/>
                <a:gd name="connsiteY14" fmla="*/ 1404016 h 5244117"/>
                <a:gd name="connsiteX15" fmla="*/ 0 w 8373730"/>
                <a:gd name="connsiteY15" fmla="*/ 0 h 5244117"/>
                <a:gd name="connsiteX0" fmla="*/ 220779 w 8383890"/>
                <a:gd name="connsiteY0" fmla="*/ 1404016 h 5233957"/>
                <a:gd name="connsiteX1" fmla="*/ 220779 w 8383890"/>
                <a:gd name="connsiteY1" fmla="*/ 1722651 h 5233957"/>
                <a:gd name="connsiteX2" fmla="*/ 1807063 w 8383890"/>
                <a:gd name="connsiteY2" fmla="*/ 1722651 h 5233957"/>
                <a:gd name="connsiteX3" fmla="*/ 1807063 w 8383890"/>
                <a:gd name="connsiteY3" fmla="*/ 2311989 h 5233957"/>
                <a:gd name="connsiteX4" fmla="*/ 3457103 w 8383890"/>
                <a:gd name="connsiteY4" fmla="*/ 2311989 h 5233957"/>
                <a:gd name="connsiteX5" fmla="*/ 3457103 w 8383890"/>
                <a:gd name="connsiteY5" fmla="*/ 1404016 h 5233957"/>
                <a:gd name="connsiteX6" fmla="*/ 220779 w 8383890"/>
                <a:gd name="connsiteY6" fmla="*/ 1404016 h 5233957"/>
                <a:gd name="connsiteX7" fmla="*/ 10160 w 8383890"/>
                <a:gd name="connsiteY7" fmla="*/ 0 h 5233957"/>
                <a:gd name="connsiteX8" fmla="*/ 8383607 w 8383890"/>
                <a:gd name="connsiteY8" fmla="*/ 0 h 5233957"/>
                <a:gd name="connsiteX9" fmla="*/ 8379119 w 8383890"/>
                <a:gd name="connsiteY9" fmla="*/ 5232291 h 5233957"/>
                <a:gd name="connsiteX10" fmla="*/ 0 w 8383890"/>
                <a:gd name="connsiteY10" fmla="*/ 5233957 h 5233957"/>
                <a:gd name="connsiteX11" fmla="*/ 10160 w 8383890"/>
                <a:gd name="connsiteY11" fmla="*/ 1722651 h 5233957"/>
                <a:gd name="connsiteX12" fmla="*/ 10161 w 8383890"/>
                <a:gd name="connsiteY12" fmla="*/ 1722651 h 5233957"/>
                <a:gd name="connsiteX13" fmla="*/ 10161 w 8383890"/>
                <a:gd name="connsiteY13" fmla="*/ 1404016 h 5233957"/>
                <a:gd name="connsiteX14" fmla="*/ 10160 w 8383890"/>
                <a:gd name="connsiteY14" fmla="*/ 1404016 h 5233957"/>
                <a:gd name="connsiteX15" fmla="*/ 10160 w 8383890"/>
                <a:gd name="connsiteY15" fmla="*/ 0 h 5233957"/>
                <a:gd name="connsiteX0" fmla="*/ 220779 w 8383890"/>
                <a:gd name="connsiteY0" fmla="*/ 1404016 h 5242451"/>
                <a:gd name="connsiteX1" fmla="*/ 220779 w 8383890"/>
                <a:gd name="connsiteY1" fmla="*/ 1722651 h 5242451"/>
                <a:gd name="connsiteX2" fmla="*/ 1807063 w 8383890"/>
                <a:gd name="connsiteY2" fmla="*/ 1722651 h 5242451"/>
                <a:gd name="connsiteX3" fmla="*/ 1807063 w 8383890"/>
                <a:gd name="connsiteY3" fmla="*/ 2311989 h 5242451"/>
                <a:gd name="connsiteX4" fmla="*/ 3457103 w 8383890"/>
                <a:gd name="connsiteY4" fmla="*/ 2311989 h 5242451"/>
                <a:gd name="connsiteX5" fmla="*/ 3457103 w 8383890"/>
                <a:gd name="connsiteY5" fmla="*/ 1404016 h 5242451"/>
                <a:gd name="connsiteX6" fmla="*/ 220779 w 8383890"/>
                <a:gd name="connsiteY6" fmla="*/ 1404016 h 5242451"/>
                <a:gd name="connsiteX7" fmla="*/ 10160 w 8383890"/>
                <a:gd name="connsiteY7" fmla="*/ 0 h 5242451"/>
                <a:gd name="connsiteX8" fmla="*/ 8383607 w 8383890"/>
                <a:gd name="connsiteY8" fmla="*/ 0 h 5242451"/>
                <a:gd name="connsiteX9" fmla="*/ 8379119 w 8383890"/>
                <a:gd name="connsiteY9" fmla="*/ 5242451 h 5242451"/>
                <a:gd name="connsiteX10" fmla="*/ 0 w 8383890"/>
                <a:gd name="connsiteY10" fmla="*/ 5233957 h 5242451"/>
                <a:gd name="connsiteX11" fmla="*/ 10160 w 8383890"/>
                <a:gd name="connsiteY11" fmla="*/ 1722651 h 5242451"/>
                <a:gd name="connsiteX12" fmla="*/ 10161 w 8383890"/>
                <a:gd name="connsiteY12" fmla="*/ 1722651 h 5242451"/>
                <a:gd name="connsiteX13" fmla="*/ 10161 w 8383890"/>
                <a:gd name="connsiteY13" fmla="*/ 1404016 h 5242451"/>
                <a:gd name="connsiteX14" fmla="*/ 10160 w 8383890"/>
                <a:gd name="connsiteY14" fmla="*/ 1404016 h 5242451"/>
                <a:gd name="connsiteX15" fmla="*/ 10160 w 8383890"/>
                <a:gd name="connsiteY15" fmla="*/ 0 h 5242451"/>
                <a:gd name="connsiteX0" fmla="*/ 220779 w 8383890"/>
                <a:gd name="connsiteY0" fmla="*/ 1404016 h 5242451"/>
                <a:gd name="connsiteX1" fmla="*/ 220779 w 8383890"/>
                <a:gd name="connsiteY1" fmla="*/ 1722651 h 5242451"/>
                <a:gd name="connsiteX2" fmla="*/ 1807063 w 8383890"/>
                <a:gd name="connsiteY2" fmla="*/ 1722651 h 5242451"/>
                <a:gd name="connsiteX3" fmla="*/ 1807063 w 8383890"/>
                <a:gd name="connsiteY3" fmla="*/ 2311989 h 5242451"/>
                <a:gd name="connsiteX4" fmla="*/ 3457103 w 8383890"/>
                <a:gd name="connsiteY4" fmla="*/ 2311989 h 5242451"/>
                <a:gd name="connsiteX5" fmla="*/ 3457103 w 8383890"/>
                <a:gd name="connsiteY5" fmla="*/ 1404016 h 5242451"/>
                <a:gd name="connsiteX6" fmla="*/ 220779 w 8383890"/>
                <a:gd name="connsiteY6" fmla="*/ 1404016 h 5242451"/>
                <a:gd name="connsiteX7" fmla="*/ 10160 w 8383890"/>
                <a:gd name="connsiteY7" fmla="*/ 0 h 5242451"/>
                <a:gd name="connsiteX8" fmla="*/ 8383607 w 8383890"/>
                <a:gd name="connsiteY8" fmla="*/ 0 h 5242451"/>
                <a:gd name="connsiteX9" fmla="*/ 8379119 w 8383890"/>
                <a:gd name="connsiteY9" fmla="*/ 5242451 h 5242451"/>
                <a:gd name="connsiteX10" fmla="*/ 0 w 8383890"/>
                <a:gd name="connsiteY10" fmla="*/ 5233957 h 5242451"/>
                <a:gd name="connsiteX11" fmla="*/ 10160 w 8383890"/>
                <a:gd name="connsiteY11" fmla="*/ 1722651 h 5242451"/>
                <a:gd name="connsiteX12" fmla="*/ 10161 w 8383890"/>
                <a:gd name="connsiteY12" fmla="*/ 1722651 h 5242451"/>
                <a:gd name="connsiteX13" fmla="*/ 10161 w 8383890"/>
                <a:gd name="connsiteY13" fmla="*/ 1404016 h 5242451"/>
                <a:gd name="connsiteX14" fmla="*/ 10160 w 8383890"/>
                <a:gd name="connsiteY14" fmla="*/ 1404016 h 5242451"/>
                <a:gd name="connsiteX15" fmla="*/ 10160 w 8383890"/>
                <a:gd name="connsiteY15" fmla="*/ 0 h 5242451"/>
                <a:gd name="connsiteX0" fmla="*/ 220779 w 8383890"/>
                <a:gd name="connsiteY0" fmla="*/ 1404016 h 5243101"/>
                <a:gd name="connsiteX1" fmla="*/ 220779 w 8383890"/>
                <a:gd name="connsiteY1" fmla="*/ 1722651 h 5243101"/>
                <a:gd name="connsiteX2" fmla="*/ 1807063 w 8383890"/>
                <a:gd name="connsiteY2" fmla="*/ 1722651 h 5243101"/>
                <a:gd name="connsiteX3" fmla="*/ 1807063 w 8383890"/>
                <a:gd name="connsiteY3" fmla="*/ 2311989 h 5243101"/>
                <a:gd name="connsiteX4" fmla="*/ 3457103 w 8383890"/>
                <a:gd name="connsiteY4" fmla="*/ 2311989 h 5243101"/>
                <a:gd name="connsiteX5" fmla="*/ 3457103 w 8383890"/>
                <a:gd name="connsiteY5" fmla="*/ 1404016 h 5243101"/>
                <a:gd name="connsiteX6" fmla="*/ 220779 w 8383890"/>
                <a:gd name="connsiteY6" fmla="*/ 1404016 h 5243101"/>
                <a:gd name="connsiteX7" fmla="*/ 10160 w 8383890"/>
                <a:gd name="connsiteY7" fmla="*/ 0 h 5243101"/>
                <a:gd name="connsiteX8" fmla="*/ 8383607 w 8383890"/>
                <a:gd name="connsiteY8" fmla="*/ 0 h 5243101"/>
                <a:gd name="connsiteX9" fmla="*/ 8379119 w 8383890"/>
                <a:gd name="connsiteY9" fmla="*/ 5242451 h 5243101"/>
                <a:gd name="connsiteX10" fmla="*/ 0 w 8383890"/>
                <a:gd name="connsiteY10" fmla="*/ 5243101 h 5243101"/>
                <a:gd name="connsiteX11" fmla="*/ 10160 w 8383890"/>
                <a:gd name="connsiteY11" fmla="*/ 1722651 h 5243101"/>
                <a:gd name="connsiteX12" fmla="*/ 10161 w 8383890"/>
                <a:gd name="connsiteY12" fmla="*/ 1722651 h 5243101"/>
                <a:gd name="connsiteX13" fmla="*/ 10161 w 8383890"/>
                <a:gd name="connsiteY13" fmla="*/ 1404016 h 5243101"/>
                <a:gd name="connsiteX14" fmla="*/ 10160 w 8383890"/>
                <a:gd name="connsiteY14" fmla="*/ 1404016 h 5243101"/>
                <a:gd name="connsiteX15" fmla="*/ 10160 w 8383890"/>
                <a:gd name="connsiteY15" fmla="*/ 0 h 5243101"/>
                <a:gd name="connsiteX0" fmla="*/ 220779 w 8383890"/>
                <a:gd name="connsiteY0" fmla="*/ 1404016 h 5243101"/>
                <a:gd name="connsiteX1" fmla="*/ 220779 w 8383890"/>
                <a:gd name="connsiteY1" fmla="*/ 1722651 h 5243101"/>
                <a:gd name="connsiteX2" fmla="*/ 1807063 w 8383890"/>
                <a:gd name="connsiteY2" fmla="*/ 1722651 h 5243101"/>
                <a:gd name="connsiteX3" fmla="*/ 1807063 w 8383890"/>
                <a:gd name="connsiteY3" fmla="*/ 2311989 h 5243101"/>
                <a:gd name="connsiteX4" fmla="*/ 3457103 w 8383890"/>
                <a:gd name="connsiteY4" fmla="*/ 2311989 h 5243101"/>
                <a:gd name="connsiteX5" fmla="*/ 3457103 w 8383890"/>
                <a:gd name="connsiteY5" fmla="*/ 1404016 h 5243101"/>
                <a:gd name="connsiteX6" fmla="*/ 220779 w 8383890"/>
                <a:gd name="connsiteY6" fmla="*/ 1404016 h 5243101"/>
                <a:gd name="connsiteX7" fmla="*/ 10160 w 8383890"/>
                <a:gd name="connsiteY7" fmla="*/ 0 h 5243101"/>
                <a:gd name="connsiteX8" fmla="*/ 8383607 w 8383890"/>
                <a:gd name="connsiteY8" fmla="*/ 0 h 5243101"/>
                <a:gd name="connsiteX9" fmla="*/ 8379119 w 8383890"/>
                <a:gd name="connsiteY9" fmla="*/ 5242451 h 5243101"/>
                <a:gd name="connsiteX10" fmla="*/ 0 w 8383890"/>
                <a:gd name="connsiteY10" fmla="*/ 5243101 h 5243101"/>
                <a:gd name="connsiteX11" fmla="*/ 10160 w 8383890"/>
                <a:gd name="connsiteY11" fmla="*/ 1722651 h 5243101"/>
                <a:gd name="connsiteX12" fmla="*/ 10161 w 8383890"/>
                <a:gd name="connsiteY12" fmla="*/ 1722651 h 5243101"/>
                <a:gd name="connsiteX13" fmla="*/ 10161 w 8383890"/>
                <a:gd name="connsiteY13" fmla="*/ 1404016 h 5243101"/>
                <a:gd name="connsiteX14" fmla="*/ 10160 w 8383890"/>
                <a:gd name="connsiteY14" fmla="*/ 1404016 h 5243101"/>
                <a:gd name="connsiteX15" fmla="*/ 10160 w 8383890"/>
                <a:gd name="connsiteY15" fmla="*/ 0 h 5243101"/>
                <a:gd name="connsiteX0" fmla="*/ 220779 w 8383890"/>
                <a:gd name="connsiteY0" fmla="*/ 1404016 h 5243101"/>
                <a:gd name="connsiteX1" fmla="*/ 220779 w 8383890"/>
                <a:gd name="connsiteY1" fmla="*/ 1722651 h 5243101"/>
                <a:gd name="connsiteX2" fmla="*/ 1807063 w 8383890"/>
                <a:gd name="connsiteY2" fmla="*/ 1722651 h 5243101"/>
                <a:gd name="connsiteX3" fmla="*/ 1807063 w 8383890"/>
                <a:gd name="connsiteY3" fmla="*/ 2311989 h 5243101"/>
                <a:gd name="connsiteX4" fmla="*/ 3457103 w 8383890"/>
                <a:gd name="connsiteY4" fmla="*/ 2311989 h 5243101"/>
                <a:gd name="connsiteX5" fmla="*/ 3457103 w 8383890"/>
                <a:gd name="connsiteY5" fmla="*/ 1404016 h 5243101"/>
                <a:gd name="connsiteX6" fmla="*/ 220779 w 8383890"/>
                <a:gd name="connsiteY6" fmla="*/ 1404016 h 5243101"/>
                <a:gd name="connsiteX7" fmla="*/ 1016 w 8383890"/>
                <a:gd name="connsiteY7" fmla="*/ 9144 h 5243101"/>
                <a:gd name="connsiteX8" fmla="*/ 8383607 w 8383890"/>
                <a:gd name="connsiteY8" fmla="*/ 0 h 5243101"/>
                <a:gd name="connsiteX9" fmla="*/ 8379119 w 8383890"/>
                <a:gd name="connsiteY9" fmla="*/ 5242451 h 5243101"/>
                <a:gd name="connsiteX10" fmla="*/ 0 w 8383890"/>
                <a:gd name="connsiteY10" fmla="*/ 5243101 h 5243101"/>
                <a:gd name="connsiteX11" fmla="*/ 10160 w 8383890"/>
                <a:gd name="connsiteY11" fmla="*/ 1722651 h 5243101"/>
                <a:gd name="connsiteX12" fmla="*/ 10161 w 8383890"/>
                <a:gd name="connsiteY12" fmla="*/ 1722651 h 5243101"/>
                <a:gd name="connsiteX13" fmla="*/ 10161 w 8383890"/>
                <a:gd name="connsiteY13" fmla="*/ 1404016 h 5243101"/>
                <a:gd name="connsiteX14" fmla="*/ 10160 w 8383890"/>
                <a:gd name="connsiteY14" fmla="*/ 1404016 h 5243101"/>
                <a:gd name="connsiteX15" fmla="*/ 1016 w 8383890"/>
                <a:gd name="connsiteY15" fmla="*/ 9144 h 5243101"/>
                <a:gd name="connsiteX0" fmla="*/ 220779 w 8383890"/>
                <a:gd name="connsiteY0" fmla="*/ 1404016 h 5243101"/>
                <a:gd name="connsiteX1" fmla="*/ 220779 w 8383890"/>
                <a:gd name="connsiteY1" fmla="*/ 1722651 h 5243101"/>
                <a:gd name="connsiteX2" fmla="*/ 1807063 w 8383890"/>
                <a:gd name="connsiteY2" fmla="*/ 1722651 h 5243101"/>
                <a:gd name="connsiteX3" fmla="*/ 1807063 w 8383890"/>
                <a:gd name="connsiteY3" fmla="*/ 2311989 h 5243101"/>
                <a:gd name="connsiteX4" fmla="*/ 3457103 w 8383890"/>
                <a:gd name="connsiteY4" fmla="*/ 2311989 h 5243101"/>
                <a:gd name="connsiteX5" fmla="*/ 3457103 w 8383890"/>
                <a:gd name="connsiteY5" fmla="*/ 1404016 h 5243101"/>
                <a:gd name="connsiteX6" fmla="*/ 220779 w 8383890"/>
                <a:gd name="connsiteY6" fmla="*/ 1404016 h 5243101"/>
                <a:gd name="connsiteX7" fmla="*/ 1016 w 8383890"/>
                <a:gd name="connsiteY7" fmla="*/ 9144 h 5243101"/>
                <a:gd name="connsiteX8" fmla="*/ 8383607 w 8383890"/>
                <a:gd name="connsiteY8" fmla="*/ 0 h 5243101"/>
                <a:gd name="connsiteX9" fmla="*/ 8379119 w 8383890"/>
                <a:gd name="connsiteY9" fmla="*/ 5242451 h 5243101"/>
                <a:gd name="connsiteX10" fmla="*/ 0 w 8383890"/>
                <a:gd name="connsiteY10" fmla="*/ 5243101 h 5243101"/>
                <a:gd name="connsiteX11" fmla="*/ 10160 w 8383890"/>
                <a:gd name="connsiteY11" fmla="*/ 1722651 h 5243101"/>
                <a:gd name="connsiteX12" fmla="*/ 10161 w 8383890"/>
                <a:gd name="connsiteY12" fmla="*/ 1722651 h 5243101"/>
                <a:gd name="connsiteX13" fmla="*/ 10161 w 8383890"/>
                <a:gd name="connsiteY13" fmla="*/ 1404016 h 5243101"/>
                <a:gd name="connsiteX14" fmla="*/ 10160 w 8383890"/>
                <a:gd name="connsiteY14" fmla="*/ 1413160 h 5243101"/>
                <a:gd name="connsiteX15" fmla="*/ 1016 w 8383890"/>
                <a:gd name="connsiteY15" fmla="*/ 9144 h 5243101"/>
                <a:gd name="connsiteX0" fmla="*/ 220779 w 8383890"/>
                <a:gd name="connsiteY0" fmla="*/ 1404016 h 5243101"/>
                <a:gd name="connsiteX1" fmla="*/ 220779 w 8383890"/>
                <a:gd name="connsiteY1" fmla="*/ 1722651 h 5243101"/>
                <a:gd name="connsiteX2" fmla="*/ 1807063 w 8383890"/>
                <a:gd name="connsiteY2" fmla="*/ 1722651 h 5243101"/>
                <a:gd name="connsiteX3" fmla="*/ 1807063 w 8383890"/>
                <a:gd name="connsiteY3" fmla="*/ 2311989 h 5243101"/>
                <a:gd name="connsiteX4" fmla="*/ 3457103 w 8383890"/>
                <a:gd name="connsiteY4" fmla="*/ 2311989 h 5243101"/>
                <a:gd name="connsiteX5" fmla="*/ 3457103 w 8383890"/>
                <a:gd name="connsiteY5" fmla="*/ 1404016 h 5243101"/>
                <a:gd name="connsiteX6" fmla="*/ 220779 w 8383890"/>
                <a:gd name="connsiteY6" fmla="*/ 1404016 h 5243101"/>
                <a:gd name="connsiteX7" fmla="*/ 1016 w 8383890"/>
                <a:gd name="connsiteY7" fmla="*/ 9144 h 5243101"/>
                <a:gd name="connsiteX8" fmla="*/ 8383607 w 8383890"/>
                <a:gd name="connsiteY8" fmla="*/ 0 h 5243101"/>
                <a:gd name="connsiteX9" fmla="*/ 8379119 w 8383890"/>
                <a:gd name="connsiteY9" fmla="*/ 5242451 h 5243101"/>
                <a:gd name="connsiteX10" fmla="*/ 0 w 8383890"/>
                <a:gd name="connsiteY10" fmla="*/ 5243101 h 5243101"/>
                <a:gd name="connsiteX11" fmla="*/ 10160 w 8383890"/>
                <a:gd name="connsiteY11" fmla="*/ 1722651 h 5243101"/>
                <a:gd name="connsiteX12" fmla="*/ 10161 w 8383890"/>
                <a:gd name="connsiteY12" fmla="*/ 1404016 h 5243101"/>
                <a:gd name="connsiteX13" fmla="*/ 10160 w 8383890"/>
                <a:gd name="connsiteY13" fmla="*/ 1413160 h 5243101"/>
                <a:gd name="connsiteX14" fmla="*/ 1016 w 8383890"/>
                <a:gd name="connsiteY14" fmla="*/ 9144 h 5243101"/>
                <a:gd name="connsiteX0" fmla="*/ 220779 w 8383890"/>
                <a:gd name="connsiteY0" fmla="*/ 1404016 h 5243101"/>
                <a:gd name="connsiteX1" fmla="*/ 220779 w 8383890"/>
                <a:gd name="connsiteY1" fmla="*/ 1722651 h 5243101"/>
                <a:gd name="connsiteX2" fmla="*/ 1807063 w 8383890"/>
                <a:gd name="connsiteY2" fmla="*/ 1722651 h 5243101"/>
                <a:gd name="connsiteX3" fmla="*/ 1807063 w 8383890"/>
                <a:gd name="connsiteY3" fmla="*/ 2311989 h 5243101"/>
                <a:gd name="connsiteX4" fmla="*/ 3457103 w 8383890"/>
                <a:gd name="connsiteY4" fmla="*/ 2311989 h 5243101"/>
                <a:gd name="connsiteX5" fmla="*/ 3457103 w 8383890"/>
                <a:gd name="connsiteY5" fmla="*/ 1404016 h 5243101"/>
                <a:gd name="connsiteX6" fmla="*/ 220779 w 8383890"/>
                <a:gd name="connsiteY6" fmla="*/ 1404016 h 5243101"/>
                <a:gd name="connsiteX7" fmla="*/ 1016 w 8383890"/>
                <a:gd name="connsiteY7" fmla="*/ 9144 h 5243101"/>
                <a:gd name="connsiteX8" fmla="*/ 8383607 w 8383890"/>
                <a:gd name="connsiteY8" fmla="*/ 0 h 5243101"/>
                <a:gd name="connsiteX9" fmla="*/ 8379119 w 8383890"/>
                <a:gd name="connsiteY9" fmla="*/ 5242451 h 5243101"/>
                <a:gd name="connsiteX10" fmla="*/ 0 w 8383890"/>
                <a:gd name="connsiteY10" fmla="*/ 5243101 h 5243101"/>
                <a:gd name="connsiteX11" fmla="*/ 10160 w 8383890"/>
                <a:gd name="connsiteY11" fmla="*/ 1722651 h 5243101"/>
                <a:gd name="connsiteX12" fmla="*/ 10161 w 8383890"/>
                <a:gd name="connsiteY12" fmla="*/ 1404016 h 5243101"/>
                <a:gd name="connsiteX13" fmla="*/ 1016 w 8383890"/>
                <a:gd name="connsiteY13" fmla="*/ 1385728 h 5243101"/>
                <a:gd name="connsiteX14" fmla="*/ 1016 w 8383890"/>
                <a:gd name="connsiteY14" fmla="*/ 9144 h 524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83890" h="5243101">
                  <a:moveTo>
                    <a:pt x="220779" y="1404016"/>
                  </a:moveTo>
                  <a:lnTo>
                    <a:pt x="220779" y="1722651"/>
                  </a:lnTo>
                  <a:lnTo>
                    <a:pt x="1807063" y="1722651"/>
                  </a:lnTo>
                  <a:lnTo>
                    <a:pt x="1807063" y="2311989"/>
                  </a:lnTo>
                  <a:lnTo>
                    <a:pt x="3457103" y="2311989"/>
                  </a:lnTo>
                  <a:lnTo>
                    <a:pt x="3457103" y="1404016"/>
                  </a:lnTo>
                  <a:lnTo>
                    <a:pt x="220779" y="1404016"/>
                  </a:lnTo>
                  <a:close/>
                  <a:moveTo>
                    <a:pt x="1016" y="9144"/>
                  </a:moveTo>
                  <a:lnTo>
                    <a:pt x="8383607" y="0"/>
                  </a:lnTo>
                  <a:cubicBezTo>
                    <a:pt x="8385498" y="1744097"/>
                    <a:pt x="8377228" y="3498354"/>
                    <a:pt x="8379119" y="5242451"/>
                  </a:cubicBezTo>
                  <a:lnTo>
                    <a:pt x="0" y="5243101"/>
                  </a:lnTo>
                  <a:cubicBezTo>
                    <a:pt x="3387" y="4072666"/>
                    <a:pt x="6773" y="2893086"/>
                    <a:pt x="10160" y="1722651"/>
                  </a:cubicBezTo>
                  <a:cubicBezTo>
                    <a:pt x="10160" y="1616439"/>
                    <a:pt x="10161" y="1510228"/>
                    <a:pt x="10161" y="1404016"/>
                  </a:cubicBezTo>
                  <a:cubicBezTo>
                    <a:pt x="10161" y="1407064"/>
                    <a:pt x="1016" y="1382680"/>
                    <a:pt x="1016" y="1385728"/>
                  </a:cubicBezTo>
                  <a:lnTo>
                    <a:pt x="1016" y="9144"/>
                  </a:lnTo>
                  <a:close/>
                </a:path>
              </a:pathLst>
            </a:custGeom>
            <a:solidFill>
              <a:schemeClr val="tx1">
                <a:lumMod val="85000"/>
                <a:lumOff val="1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yellow highlight">
              <a:extLst>
                <a:ext uri="{FF2B5EF4-FFF2-40B4-BE49-F238E27FC236}">
                  <a16:creationId xmlns:a16="http://schemas.microsoft.com/office/drawing/2014/main" id="{D6B01C11-BD67-D644-B5EB-8BEC469AFC0C}"/>
                </a:ext>
              </a:extLst>
            </p:cNvPr>
            <p:cNvSpPr/>
            <p:nvPr/>
          </p:nvSpPr>
          <p:spPr>
            <a:xfrm>
              <a:off x="1990057" y="2839577"/>
              <a:ext cx="1577022" cy="274536"/>
            </a:xfrm>
            <a:prstGeom prst="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0" name="Group 59">
              <a:extLst>
                <a:ext uri="{FF2B5EF4-FFF2-40B4-BE49-F238E27FC236}">
                  <a16:creationId xmlns:a16="http://schemas.microsoft.com/office/drawing/2014/main" id="{AB932591-12C6-5542-ADDF-20EB6A848953}"/>
                </a:ext>
              </a:extLst>
            </p:cNvPr>
            <p:cNvGrpSpPr/>
            <p:nvPr/>
          </p:nvGrpSpPr>
          <p:grpSpPr>
            <a:xfrm>
              <a:off x="3563520" y="2839577"/>
              <a:ext cx="1643439" cy="893723"/>
              <a:chOff x="3594000" y="2846151"/>
              <a:chExt cx="1643439" cy="893723"/>
            </a:xfrm>
          </p:grpSpPr>
          <p:sp>
            <p:nvSpPr>
              <p:cNvPr id="61" name="yellow highlight">
                <a:extLst>
                  <a:ext uri="{FF2B5EF4-FFF2-40B4-BE49-F238E27FC236}">
                    <a16:creationId xmlns:a16="http://schemas.microsoft.com/office/drawing/2014/main" id="{05E36FCE-7909-9748-9C03-1DA2CA65FCC5}"/>
                  </a:ext>
                </a:extLst>
              </p:cNvPr>
              <p:cNvSpPr/>
              <p:nvPr/>
            </p:nvSpPr>
            <p:spPr>
              <a:xfrm>
                <a:off x="3597561" y="2846151"/>
                <a:ext cx="1639878" cy="274536"/>
              </a:xfrm>
              <a:prstGeom prst="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yellow highlight">
                <a:extLst>
                  <a:ext uri="{FF2B5EF4-FFF2-40B4-BE49-F238E27FC236}">
                    <a16:creationId xmlns:a16="http://schemas.microsoft.com/office/drawing/2014/main" id="{19E3F642-6F3F-2D4D-A710-32F3E304BB42}"/>
                  </a:ext>
                </a:extLst>
              </p:cNvPr>
              <p:cNvSpPr/>
              <p:nvPr/>
            </p:nvSpPr>
            <p:spPr>
              <a:xfrm>
                <a:off x="3594000" y="3432582"/>
                <a:ext cx="1639878" cy="307292"/>
              </a:xfrm>
              <a:prstGeom prst="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yellow highlight">
                <a:extLst>
                  <a:ext uri="{FF2B5EF4-FFF2-40B4-BE49-F238E27FC236}">
                    <a16:creationId xmlns:a16="http://schemas.microsoft.com/office/drawing/2014/main" id="{FEAE918F-10B0-FB4B-BD35-EA67BF8AE960}"/>
                  </a:ext>
                </a:extLst>
              </p:cNvPr>
              <p:cNvSpPr/>
              <p:nvPr/>
            </p:nvSpPr>
            <p:spPr>
              <a:xfrm>
                <a:off x="3594600" y="3138697"/>
                <a:ext cx="1639878" cy="261089"/>
              </a:xfrm>
              <a:prstGeom prst="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77" name="Workspace highlight">
            <a:extLst>
              <a:ext uri="{FF2B5EF4-FFF2-40B4-BE49-F238E27FC236}">
                <a16:creationId xmlns:a16="http://schemas.microsoft.com/office/drawing/2014/main" id="{F96C301C-A84E-844F-8B4E-75FA66FEA239}"/>
              </a:ext>
            </a:extLst>
          </p:cNvPr>
          <p:cNvGrpSpPr/>
          <p:nvPr/>
        </p:nvGrpSpPr>
        <p:grpSpPr>
          <a:xfrm>
            <a:off x="1764186" y="1403688"/>
            <a:ext cx="8379444" cy="5285920"/>
            <a:chOff x="1765578" y="1403688"/>
            <a:chExt cx="8379444" cy="5285920"/>
          </a:xfrm>
        </p:grpSpPr>
        <p:sp>
          <p:nvSpPr>
            <p:cNvPr id="78" name="Freeform 77">
              <a:extLst>
                <a:ext uri="{FF2B5EF4-FFF2-40B4-BE49-F238E27FC236}">
                  <a16:creationId xmlns:a16="http://schemas.microsoft.com/office/drawing/2014/main" id="{A504EE05-2C0C-D744-B2A5-9DF457BB24A7}"/>
                </a:ext>
              </a:extLst>
            </p:cNvPr>
            <p:cNvSpPr/>
            <p:nvPr/>
          </p:nvSpPr>
          <p:spPr>
            <a:xfrm>
              <a:off x="1765578" y="1403688"/>
              <a:ext cx="8379444" cy="5285920"/>
            </a:xfrm>
            <a:custGeom>
              <a:avLst/>
              <a:gdLst>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1822961 w 8364512"/>
                <a:gd name="connsiteY4" fmla="*/ 5232290 h 5232292"/>
                <a:gd name="connsiteX5" fmla="*/ 1822961 w 8364512"/>
                <a:gd name="connsiteY5" fmla="*/ 1404013 h 5232292"/>
                <a:gd name="connsiteX6" fmla="*/ 791483 w 8364512"/>
                <a:gd name="connsiteY6" fmla="*/ 1404013 h 5232292"/>
                <a:gd name="connsiteX7" fmla="*/ 791483 w 8364512"/>
                <a:gd name="connsiteY7" fmla="*/ 1404016 h 5232292"/>
                <a:gd name="connsiteX8" fmla="*/ 207370 w 8364512"/>
                <a:gd name="connsiteY8" fmla="*/ 1404016 h 5232292"/>
                <a:gd name="connsiteX9" fmla="*/ 2073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1822961 w 8364512"/>
                <a:gd name="connsiteY4" fmla="*/ 5232290 h 5232292"/>
                <a:gd name="connsiteX5" fmla="*/ 3397761 w 8364512"/>
                <a:gd name="connsiteY5" fmla="*/ 1414173 h 5232292"/>
                <a:gd name="connsiteX6" fmla="*/ 791483 w 8364512"/>
                <a:gd name="connsiteY6" fmla="*/ 1404013 h 5232292"/>
                <a:gd name="connsiteX7" fmla="*/ 791483 w 8364512"/>
                <a:gd name="connsiteY7" fmla="*/ 1404016 h 5232292"/>
                <a:gd name="connsiteX8" fmla="*/ 207370 w 8364512"/>
                <a:gd name="connsiteY8" fmla="*/ 1404016 h 5232292"/>
                <a:gd name="connsiteX9" fmla="*/ 2073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 name="connsiteX15" fmla="*/ 211080 w 8364512"/>
                <a:gd name="connsiteY15" fmla="*/ 0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3407921 w 8364512"/>
                <a:gd name="connsiteY4" fmla="*/ 5222130 h 5232292"/>
                <a:gd name="connsiteX5" fmla="*/ 3397761 w 8364512"/>
                <a:gd name="connsiteY5" fmla="*/ 1414173 h 5232292"/>
                <a:gd name="connsiteX6" fmla="*/ 791483 w 8364512"/>
                <a:gd name="connsiteY6" fmla="*/ 1404013 h 5232292"/>
                <a:gd name="connsiteX7" fmla="*/ 791483 w 8364512"/>
                <a:gd name="connsiteY7" fmla="*/ 1404016 h 5232292"/>
                <a:gd name="connsiteX8" fmla="*/ 207370 w 8364512"/>
                <a:gd name="connsiteY8" fmla="*/ 1404016 h 5232292"/>
                <a:gd name="connsiteX9" fmla="*/ 2073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 name="connsiteX15" fmla="*/ 211080 w 8364512"/>
                <a:gd name="connsiteY15" fmla="*/ 0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3407921 w 8364512"/>
                <a:gd name="connsiteY4" fmla="*/ 5222130 h 5232292"/>
                <a:gd name="connsiteX5" fmla="*/ 3397761 w 8364512"/>
                <a:gd name="connsiteY5" fmla="*/ 1414173 h 5232292"/>
                <a:gd name="connsiteX6" fmla="*/ 791483 w 8364512"/>
                <a:gd name="connsiteY6" fmla="*/ 1404013 h 5232292"/>
                <a:gd name="connsiteX7" fmla="*/ 791483 w 8364512"/>
                <a:gd name="connsiteY7" fmla="*/ 1404016 h 5232292"/>
                <a:gd name="connsiteX8" fmla="*/ 207370 w 8364512"/>
                <a:gd name="connsiteY8" fmla="*/ 1404016 h 5232292"/>
                <a:gd name="connsiteX9" fmla="*/ 17821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 name="connsiteX15" fmla="*/ 211080 w 8364512"/>
                <a:gd name="connsiteY15" fmla="*/ 0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3407921 w 8364512"/>
                <a:gd name="connsiteY4" fmla="*/ 5222130 h 5232292"/>
                <a:gd name="connsiteX5" fmla="*/ 3397761 w 8364512"/>
                <a:gd name="connsiteY5" fmla="*/ 1414173 h 5232292"/>
                <a:gd name="connsiteX6" fmla="*/ 791483 w 8364512"/>
                <a:gd name="connsiteY6" fmla="*/ 1404013 h 5232292"/>
                <a:gd name="connsiteX7" fmla="*/ 791483 w 8364512"/>
                <a:gd name="connsiteY7" fmla="*/ 1404016 h 5232292"/>
                <a:gd name="connsiteX8" fmla="*/ 1782170 w 8364512"/>
                <a:gd name="connsiteY8" fmla="*/ 1414176 h 5232292"/>
                <a:gd name="connsiteX9" fmla="*/ 17821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 name="connsiteX15" fmla="*/ 211080 w 8364512"/>
                <a:gd name="connsiteY15" fmla="*/ 0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3407921 w 8364512"/>
                <a:gd name="connsiteY4" fmla="*/ 5222130 h 5232292"/>
                <a:gd name="connsiteX5" fmla="*/ 3397761 w 8364512"/>
                <a:gd name="connsiteY5" fmla="*/ 1414173 h 5232292"/>
                <a:gd name="connsiteX6" fmla="*/ 791483 w 8364512"/>
                <a:gd name="connsiteY6" fmla="*/ 1404013 h 5232292"/>
                <a:gd name="connsiteX7" fmla="*/ 1756683 w 8364512"/>
                <a:gd name="connsiteY7" fmla="*/ 1414176 h 5232292"/>
                <a:gd name="connsiteX8" fmla="*/ 1782170 w 8364512"/>
                <a:gd name="connsiteY8" fmla="*/ 1414176 h 5232292"/>
                <a:gd name="connsiteX9" fmla="*/ 17821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 name="connsiteX15" fmla="*/ 211080 w 8364512"/>
                <a:gd name="connsiteY15" fmla="*/ 0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3407921 w 8364512"/>
                <a:gd name="connsiteY4" fmla="*/ 5222130 h 5232292"/>
                <a:gd name="connsiteX5" fmla="*/ 3397761 w 8364512"/>
                <a:gd name="connsiteY5" fmla="*/ 1414173 h 5232292"/>
                <a:gd name="connsiteX6" fmla="*/ 1756683 w 8364512"/>
                <a:gd name="connsiteY6" fmla="*/ 1414176 h 5232292"/>
                <a:gd name="connsiteX7" fmla="*/ 1782170 w 8364512"/>
                <a:gd name="connsiteY7" fmla="*/ 1414176 h 5232292"/>
                <a:gd name="connsiteX8" fmla="*/ 1782170 w 8364512"/>
                <a:gd name="connsiteY8" fmla="*/ 5232292 h 5232292"/>
                <a:gd name="connsiteX9" fmla="*/ 0 w 8364512"/>
                <a:gd name="connsiteY9" fmla="*/ 5232292 h 5232292"/>
                <a:gd name="connsiteX10" fmla="*/ 0 w 8364512"/>
                <a:gd name="connsiteY10" fmla="*/ 1 h 5232292"/>
                <a:gd name="connsiteX11" fmla="*/ 207370 w 8364512"/>
                <a:gd name="connsiteY11" fmla="*/ 1 h 5232292"/>
                <a:gd name="connsiteX12" fmla="*/ 207370 w 8364512"/>
                <a:gd name="connsiteY12" fmla="*/ 2 h 5232292"/>
                <a:gd name="connsiteX13" fmla="*/ 211080 w 8364512"/>
                <a:gd name="connsiteY13" fmla="*/ 2 h 5232292"/>
                <a:gd name="connsiteX14" fmla="*/ 211080 w 8364512"/>
                <a:gd name="connsiteY14" fmla="*/ 0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3407921 w 8364512"/>
                <a:gd name="connsiteY4" fmla="*/ 5222130 h 5232292"/>
                <a:gd name="connsiteX5" fmla="*/ 3397761 w 8364512"/>
                <a:gd name="connsiteY5" fmla="*/ 1414173 h 5232292"/>
                <a:gd name="connsiteX6" fmla="*/ 1756683 w 8364512"/>
                <a:gd name="connsiteY6" fmla="*/ 1414176 h 5232292"/>
                <a:gd name="connsiteX7" fmla="*/ 1782170 w 8364512"/>
                <a:gd name="connsiteY7" fmla="*/ 5232292 h 5232292"/>
                <a:gd name="connsiteX8" fmla="*/ 0 w 8364512"/>
                <a:gd name="connsiteY8" fmla="*/ 5232292 h 5232292"/>
                <a:gd name="connsiteX9" fmla="*/ 0 w 8364512"/>
                <a:gd name="connsiteY9" fmla="*/ 1 h 5232292"/>
                <a:gd name="connsiteX10" fmla="*/ 207370 w 8364512"/>
                <a:gd name="connsiteY10" fmla="*/ 1 h 5232292"/>
                <a:gd name="connsiteX11" fmla="*/ 207370 w 8364512"/>
                <a:gd name="connsiteY11" fmla="*/ 2 h 5232292"/>
                <a:gd name="connsiteX12" fmla="*/ 211080 w 8364512"/>
                <a:gd name="connsiteY12" fmla="*/ 2 h 5232292"/>
                <a:gd name="connsiteX13" fmla="*/ 211080 w 8364512"/>
                <a:gd name="connsiteY13" fmla="*/ 0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3407921 w 8364512"/>
                <a:gd name="connsiteY4" fmla="*/ 5222130 h 5232292"/>
                <a:gd name="connsiteX5" fmla="*/ 3397761 w 8364512"/>
                <a:gd name="connsiteY5" fmla="*/ 1414173 h 5232292"/>
                <a:gd name="connsiteX6" fmla="*/ 1777003 w 8364512"/>
                <a:gd name="connsiteY6" fmla="*/ 1414176 h 5232292"/>
                <a:gd name="connsiteX7" fmla="*/ 1782170 w 8364512"/>
                <a:gd name="connsiteY7" fmla="*/ 5232292 h 5232292"/>
                <a:gd name="connsiteX8" fmla="*/ 0 w 8364512"/>
                <a:gd name="connsiteY8" fmla="*/ 5232292 h 5232292"/>
                <a:gd name="connsiteX9" fmla="*/ 0 w 8364512"/>
                <a:gd name="connsiteY9" fmla="*/ 1 h 5232292"/>
                <a:gd name="connsiteX10" fmla="*/ 207370 w 8364512"/>
                <a:gd name="connsiteY10" fmla="*/ 1 h 5232292"/>
                <a:gd name="connsiteX11" fmla="*/ 207370 w 8364512"/>
                <a:gd name="connsiteY11" fmla="*/ 2 h 5232292"/>
                <a:gd name="connsiteX12" fmla="*/ 211080 w 8364512"/>
                <a:gd name="connsiteY12" fmla="*/ 2 h 5232292"/>
                <a:gd name="connsiteX13" fmla="*/ 211080 w 8364512"/>
                <a:gd name="connsiteY13" fmla="*/ 0 h 5232292"/>
                <a:gd name="connsiteX0" fmla="*/ 211080 w 8364512"/>
                <a:gd name="connsiteY0" fmla="*/ 0 h 5242450"/>
                <a:gd name="connsiteX1" fmla="*/ 8364512 w 8364512"/>
                <a:gd name="connsiteY1" fmla="*/ 0 h 5242450"/>
                <a:gd name="connsiteX2" fmla="*/ 8364512 w 8364512"/>
                <a:gd name="connsiteY2" fmla="*/ 1404013 h 5242450"/>
                <a:gd name="connsiteX3" fmla="*/ 8364512 w 8364512"/>
                <a:gd name="connsiteY3" fmla="*/ 5232290 h 5242450"/>
                <a:gd name="connsiteX4" fmla="*/ 3418081 w 8364512"/>
                <a:gd name="connsiteY4" fmla="*/ 5242450 h 5242450"/>
                <a:gd name="connsiteX5" fmla="*/ 3397761 w 8364512"/>
                <a:gd name="connsiteY5" fmla="*/ 1414173 h 5242450"/>
                <a:gd name="connsiteX6" fmla="*/ 1777003 w 8364512"/>
                <a:gd name="connsiteY6" fmla="*/ 1414176 h 5242450"/>
                <a:gd name="connsiteX7" fmla="*/ 1782170 w 8364512"/>
                <a:gd name="connsiteY7" fmla="*/ 5232292 h 5242450"/>
                <a:gd name="connsiteX8" fmla="*/ 0 w 8364512"/>
                <a:gd name="connsiteY8" fmla="*/ 5232292 h 5242450"/>
                <a:gd name="connsiteX9" fmla="*/ 0 w 8364512"/>
                <a:gd name="connsiteY9" fmla="*/ 1 h 5242450"/>
                <a:gd name="connsiteX10" fmla="*/ 207370 w 8364512"/>
                <a:gd name="connsiteY10" fmla="*/ 1 h 5242450"/>
                <a:gd name="connsiteX11" fmla="*/ 207370 w 8364512"/>
                <a:gd name="connsiteY11" fmla="*/ 2 h 5242450"/>
                <a:gd name="connsiteX12" fmla="*/ 211080 w 8364512"/>
                <a:gd name="connsiteY12" fmla="*/ 2 h 5242450"/>
                <a:gd name="connsiteX13" fmla="*/ 211080 w 8364512"/>
                <a:gd name="connsiteY13" fmla="*/ 0 h 5242450"/>
                <a:gd name="connsiteX0" fmla="*/ 211080 w 8374672"/>
                <a:gd name="connsiteY0" fmla="*/ 0 h 5262770"/>
                <a:gd name="connsiteX1" fmla="*/ 8364512 w 8374672"/>
                <a:gd name="connsiteY1" fmla="*/ 0 h 5262770"/>
                <a:gd name="connsiteX2" fmla="*/ 8364512 w 8374672"/>
                <a:gd name="connsiteY2" fmla="*/ 1404013 h 5262770"/>
                <a:gd name="connsiteX3" fmla="*/ 8374672 w 8374672"/>
                <a:gd name="connsiteY3" fmla="*/ 5262770 h 5262770"/>
                <a:gd name="connsiteX4" fmla="*/ 3418081 w 8374672"/>
                <a:gd name="connsiteY4" fmla="*/ 5242450 h 5262770"/>
                <a:gd name="connsiteX5" fmla="*/ 3397761 w 8374672"/>
                <a:gd name="connsiteY5" fmla="*/ 1414173 h 5262770"/>
                <a:gd name="connsiteX6" fmla="*/ 1777003 w 8374672"/>
                <a:gd name="connsiteY6" fmla="*/ 1414176 h 5262770"/>
                <a:gd name="connsiteX7" fmla="*/ 1782170 w 8374672"/>
                <a:gd name="connsiteY7" fmla="*/ 5232292 h 5262770"/>
                <a:gd name="connsiteX8" fmla="*/ 0 w 8374672"/>
                <a:gd name="connsiteY8" fmla="*/ 5232292 h 5262770"/>
                <a:gd name="connsiteX9" fmla="*/ 0 w 8374672"/>
                <a:gd name="connsiteY9" fmla="*/ 1 h 5262770"/>
                <a:gd name="connsiteX10" fmla="*/ 207370 w 8374672"/>
                <a:gd name="connsiteY10" fmla="*/ 1 h 5262770"/>
                <a:gd name="connsiteX11" fmla="*/ 207370 w 8374672"/>
                <a:gd name="connsiteY11" fmla="*/ 2 h 5262770"/>
                <a:gd name="connsiteX12" fmla="*/ 211080 w 8374672"/>
                <a:gd name="connsiteY12" fmla="*/ 2 h 5262770"/>
                <a:gd name="connsiteX13" fmla="*/ 211080 w 8374672"/>
                <a:gd name="connsiteY13" fmla="*/ 0 h 5262770"/>
                <a:gd name="connsiteX0" fmla="*/ 211080 w 8364805"/>
                <a:gd name="connsiteY0" fmla="*/ 0 h 5242450"/>
                <a:gd name="connsiteX1" fmla="*/ 8364512 w 8364805"/>
                <a:gd name="connsiteY1" fmla="*/ 0 h 5242450"/>
                <a:gd name="connsiteX2" fmla="*/ 8364512 w 8364805"/>
                <a:gd name="connsiteY2" fmla="*/ 1404013 h 5242450"/>
                <a:gd name="connsiteX3" fmla="*/ 8344192 w 8364805"/>
                <a:gd name="connsiteY3" fmla="*/ 5242450 h 5242450"/>
                <a:gd name="connsiteX4" fmla="*/ 3418081 w 8364805"/>
                <a:gd name="connsiteY4" fmla="*/ 5242450 h 5242450"/>
                <a:gd name="connsiteX5" fmla="*/ 3397761 w 8364805"/>
                <a:gd name="connsiteY5" fmla="*/ 1414173 h 5242450"/>
                <a:gd name="connsiteX6" fmla="*/ 1777003 w 8364805"/>
                <a:gd name="connsiteY6" fmla="*/ 1414176 h 5242450"/>
                <a:gd name="connsiteX7" fmla="*/ 1782170 w 8364805"/>
                <a:gd name="connsiteY7" fmla="*/ 5232292 h 5242450"/>
                <a:gd name="connsiteX8" fmla="*/ 0 w 8364805"/>
                <a:gd name="connsiteY8" fmla="*/ 5232292 h 5242450"/>
                <a:gd name="connsiteX9" fmla="*/ 0 w 8364805"/>
                <a:gd name="connsiteY9" fmla="*/ 1 h 5242450"/>
                <a:gd name="connsiteX10" fmla="*/ 207370 w 8364805"/>
                <a:gd name="connsiteY10" fmla="*/ 1 h 5242450"/>
                <a:gd name="connsiteX11" fmla="*/ 207370 w 8364805"/>
                <a:gd name="connsiteY11" fmla="*/ 2 h 5242450"/>
                <a:gd name="connsiteX12" fmla="*/ 211080 w 8364805"/>
                <a:gd name="connsiteY12" fmla="*/ 2 h 5242450"/>
                <a:gd name="connsiteX13" fmla="*/ 211080 w 8364805"/>
                <a:gd name="connsiteY13" fmla="*/ 0 h 5242450"/>
                <a:gd name="connsiteX0" fmla="*/ 211080 w 8364962"/>
                <a:gd name="connsiteY0" fmla="*/ 0 h 5262770"/>
                <a:gd name="connsiteX1" fmla="*/ 8364512 w 8364962"/>
                <a:gd name="connsiteY1" fmla="*/ 0 h 5262770"/>
                <a:gd name="connsiteX2" fmla="*/ 8364512 w 8364962"/>
                <a:gd name="connsiteY2" fmla="*/ 1404013 h 5262770"/>
                <a:gd name="connsiteX3" fmla="*/ 8354352 w 8364962"/>
                <a:gd name="connsiteY3" fmla="*/ 5262770 h 5262770"/>
                <a:gd name="connsiteX4" fmla="*/ 3418081 w 8364962"/>
                <a:gd name="connsiteY4" fmla="*/ 5242450 h 5262770"/>
                <a:gd name="connsiteX5" fmla="*/ 3397761 w 8364962"/>
                <a:gd name="connsiteY5" fmla="*/ 1414173 h 5262770"/>
                <a:gd name="connsiteX6" fmla="*/ 1777003 w 8364962"/>
                <a:gd name="connsiteY6" fmla="*/ 1414176 h 5262770"/>
                <a:gd name="connsiteX7" fmla="*/ 1782170 w 8364962"/>
                <a:gd name="connsiteY7" fmla="*/ 5232292 h 5262770"/>
                <a:gd name="connsiteX8" fmla="*/ 0 w 8364962"/>
                <a:gd name="connsiteY8" fmla="*/ 5232292 h 5262770"/>
                <a:gd name="connsiteX9" fmla="*/ 0 w 8364962"/>
                <a:gd name="connsiteY9" fmla="*/ 1 h 5262770"/>
                <a:gd name="connsiteX10" fmla="*/ 207370 w 8364962"/>
                <a:gd name="connsiteY10" fmla="*/ 1 h 5262770"/>
                <a:gd name="connsiteX11" fmla="*/ 207370 w 8364962"/>
                <a:gd name="connsiteY11" fmla="*/ 2 h 5262770"/>
                <a:gd name="connsiteX12" fmla="*/ 211080 w 8364962"/>
                <a:gd name="connsiteY12" fmla="*/ 2 h 5262770"/>
                <a:gd name="connsiteX13" fmla="*/ 211080 w 8364962"/>
                <a:gd name="connsiteY13" fmla="*/ 0 h 5262770"/>
                <a:gd name="connsiteX0" fmla="*/ 211080 w 8364962"/>
                <a:gd name="connsiteY0" fmla="*/ 0 h 5262770"/>
                <a:gd name="connsiteX1" fmla="*/ 8364512 w 8364962"/>
                <a:gd name="connsiteY1" fmla="*/ 0 h 5262770"/>
                <a:gd name="connsiteX2" fmla="*/ 8364512 w 8364962"/>
                <a:gd name="connsiteY2" fmla="*/ 1404013 h 5262770"/>
                <a:gd name="connsiteX3" fmla="*/ 8354352 w 8364962"/>
                <a:gd name="connsiteY3" fmla="*/ 5262770 h 5262770"/>
                <a:gd name="connsiteX4" fmla="*/ 3418081 w 8364962"/>
                <a:gd name="connsiteY4" fmla="*/ 5242450 h 5262770"/>
                <a:gd name="connsiteX5" fmla="*/ 8345681 w 8364962"/>
                <a:gd name="connsiteY5" fmla="*/ 1109373 h 5262770"/>
                <a:gd name="connsiteX6" fmla="*/ 1777003 w 8364962"/>
                <a:gd name="connsiteY6" fmla="*/ 1414176 h 5262770"/>
                <a:gd name="connsiteX7" fmla="*/ 1782170 w 8364962"/>
                <a:gd name="connsiteY7" fmla="*/ 5232292 h 5262770"/>
                <a:gd name="connsiteX8" fmla="*/ 0 w 8364962"/>
                <a:gd name="connsiteY8" fmla="*/ 5232292 h 5262770"/>
                <a:gd name="connsiteX9" fmla="*/ 0 w 8364962"/>
                <a:gd name="connsiteY9" fmla="*/ 1 h 5262770"/>
                <a:gd name="connsiteX10" fmla="*/ 207370 w 8364962"/>
                <a:gd name="connsiteY10" fmla="*/ 1 h 5262770"/>
                <a:gd name="connsiteX11" fmla="*/ 207370 w 8364962"/>
                <a:gd name="connsiteY11" fmla="*/ 2 h 5262770"/>
                <a:gd name="connsiteX12" fmla="*/ 211080 w 8364962"/>
                <a:gd name="connsiteY12" fmla="*/ 2 h 5262770"/>
                <a:gd name="connsiteX13" fmla="*/ 211080 w 8364962"/>
                <a:gd name="connsiteY13" fmla="*/ 0 h 5262770"/>
                <a:gd name="connsiteX0" fmla="*/ 211080 w 8366001"/>
                <a:gd name="connsiteY0" fmla="*/ 0 h 5262770"/>
                <a:gd name="connsiteX1" fmla="*/ 8364512 w 8366001"/>
                <a:gd name="connsiteY1" fmla="*/ 0 h 5262770"/>
                <a:gd name="connsiteX2" fmla="*/ 8364512 w 8366001"/>
                <a:gd name="connsiteY2" fmla="*/ 1404013 h 5262770"/>
                <a:gd name="connsiteX3" fmla="*/ 8354352 w 8366001"/>
                <a:gd name="connsiteY3" fmla="*/ 5262770 h 5262770"/>
                <a:gd name="connsiteX4" fmla="*/ 8366001 w 8366001"/>
                <a:gd name="connsiteY4" fmla="*/ 5242450 h 5262770"/>
                <a:gd name="connsiteX5" fmla="*/ 8345681 w 8366001"/>
                <a:gd name="connsiteY5" fmla="*/ 1109373 h 5262770"/>
                <a:gd name="connsiteX6" fmla="*/ 1777003 w 8366001"/>
                <a:gd name="connsiteY6" fmla="*/ 1414176 h 5262770"/>
                <a:gd name="connsiteX7" fmla="*/ 1782170 w 8366001"/>
                <a:gd name="connsiteY7" fmla="*/ 5232292 h 5262770"/>
                <a:gd name="connsiteX8" fmla="*/ 0 w 8366001"/>
                <a:gd name="connsiteY8" fmla="*/ 5232292 h 5262770"/>
                <a:gd name="connsiteX9" fmla="*/ 0 w 8366001"/>
                <a:gd name="connsiteY9" fmla="*/ 1 h 5262770"/>
                <a:gd name="connsiteX10" fmla="*/ 207370 w 8366001"/>
                <a:gd name="connsiteY10" fmla="*/ 1 h 5262770"/>
                <a:gd name="connsiteX11" fmla="*/ 207370 w 8366001"/>
                <a:gd name="connsiteY11" fmla="*/ 2 h 5262770"/>
                <a:gd name="connsiteX12" fmla="*/ 211080 w 8366001"/>
                <a:gd name="connsiteY12" fmla="*/ 2 h 5262770"/>
                <a:gd name="connsiteX13" fmla="*/ 211080 w 8366001"/>
                <a:gd name="connsiteY13" fmla="*/ 0 h 5262770"/>
                <a:gd name="connsiteX0" fmla="*/ 211080 w 8366001"/>
                <a:gd name="connsiteY0" fmla="*/ 0 h 5262770"/>
                <a:gd name="connsiteX1" fmla="*/ 8364512 w 8366001"/>
                <a:gd name="connsiteY1" fmla="*/ 0 h 5262770"/>
                <a:gd name="connsiteX2" fmla="*/ 8364512 w 8366001"/>
                <a:gd name="connsiteY2" fmla="*/ 1404013 h 5262770"/>
                <a:gd name="connsiteX3" fmla="*/ 8354352 w 8366001"/>
                <a:gd name="connsiteY3" fmla="*/ 5262770 h 5262770"/>
                <a:gd name="connsiteX4" fmla="*/ 8366001 w 8366001"/>
                <a:gd name="connsiteY4" fmla="*/ 5242450 h 5262770"/>
                <a:gd name="connsiteX5" fmla="*/ 8345681 w 8366001"/>
                <a:gd name="connsiteY5" fmla="*/ 1109373 h 5262770"/>
                <a:gd name="connsiteX6" fmla="*/ 3422923 w 8366001"/>
                <a:gd name="connsiteY6" fmla="*/ 1109376 h 5262770"/>
                <a:gd name="connsiteX7" fmla="*/ 1782170 w 8366001"/>
                <a:gd name="connsiteY7" fmla="*/ 5232292 h 5262770"/>
                <a:gd name="connsiteX8" fmla="*/ 0 w 8366001"/>
                <a:gd name="connsiteY8" fmla="*/ 5232292 h 5262770"/>
                <a:gd name="connsiteX9" fmla="*/ 0 w 8366001"/>
                <a:gd name="connsiteY9" fmla="*/ 1 h 5262770"/>
                <a:gd name="connsiteX10" fmla="*/ 207370 w 8366001"/>
                <a:gd name="connsiteY10" fmla="*/ 1 h 5262770"/>
                <a:gd name="connsiteX11" fmla="*/ 207370 w 8366001"/>
                <a:gd name="connsiteY11" fmla="*/ 2 h 5262770"/>
                <a:gd name="connsiteX12" fmla="*/ 211080 w 8366001"/>
                <a:gd name="connsiteY12" fmla="*/ 2 h 5262770"/>
                <a:gd name="connsiteX13" fmla="*/ 211080 w 8366001"/>
                <a:gd name="connsiteY13" fmla="*/ 0 h 5262770"/>
                <a:gd name="connsiteX0" fmla="*/ 211080 w 8366001"/>
                <a:gd name="connsiteY0" fmla="*/ 0 h 5262770"/>
                <a:gd name="connsiteX1" fmla="*/ 8364512 w 8366001"/>
                <a:gd name="connsiteY1" fmla="*/ 0 h 5262770"/>
                <a:gd name="connsiteX2" fmla="*/ 8364512 w 8366001"/>
                <a:gd name="connsiteY2" fmla="*/ 1404013 h 5262770"/>
                <a:gd name="connsiteX3" fmla="*/ 8354352 w 8366001"/>
                <a:gd name="connsiteY3" fmla="*/ 5262770 h 5262770"/>
                <a:gd name="connsiteX4" fmla="*/ 8366001 w 8366001"/>
                <a:gd name="connsiteY4" fmla="*/ 5242450 h 5262770"/>
                <a:gd name="connsiteX5" fmla="*/ 8345681 w 8366001"/>
                <a:gd name="connsiteY5" fmla="*/ 1109373 h 5262770"/>
                <a:gd name="connsiteX6" fmla="*/ 3422923 w 8366001"/>
                <a:gd name="connsiteY6" fmla="*/ 1109376 h 5262770"/>
                <a:gd name="connsiteX7" fmla="*/ 3417930 w 8366001"/>
                <a:gd name="connsiteY7" fmla="*/ 5232292 h 5262770"/>
                <a:gd name="connsiteX8" fmla="*/ 0 w 8366001"/>
                <a:gd name="connsiteY8" fmla="*/ 5232292 h 5262770"/>
                <a:gd name="connsiteX9" fmla="*/ 0 w 8366001"/>
                <a:gd name="connsiteY9" fmla="*/ 1 h 5262770"/>
                <a:gd name="connsiteX10" fmla="*/ 207370 w 8366001"/>
                <a:gd name="connsiteY10" fmla="*/ 1 h 5262770"/>
                <a:gd name="connsiteX11" fmla="*/ 207370 w 8366001"/>
                <a:gd name="connsiteY11" fmla="*/ 2 h 5262770"/>
                <a:gd name="connsiteX12" fmla="*/ 211080 w 8366001"/>
                <a:gd name="connsiteY12" fmla="*/ 2 h 5262770"/>
                <a:gd name="connsiteX13" fmla="*/ 211080 w 8366001"/>
                <a:gd name="connsiteY13" fmla="*/ 0 h 5262770"/>
                <a:gd name="connsiteX0" fmla="*/ 211080 w 8376086"/>
                <a:gd name="connsiteY0" fmla="*/ 0 h 5262770"/>
                <a:gd name="connsiteX1" fmla="*/ 8376086 w 8376086"/>
                <a:gd name="connsiteY1" fmla="*/ 0 h 5262770"/>
                <a:gd name="connsiteX2" fmla="*/ 8364512 w 8376086"/>
                <a:gd name="connsiteY2" fmla="*/ 1404013 h 5262770"/>
                <a:gd name="connsiteX3" fmla="*/ 8354352 w 8376086"/>
                <a:gd name="connsiteY3" fmla="*/ 5262770 h 5262770"/>
                <a:gd name="connsiteX4" fmla="*/ 8366001 w 8376086"/>
                <a:gd name="connsiteY4" fmla="*/ 5242450 h 5262770"/>
                <a:gd name="connsiteX5" fmla="*/ 8345681 w 8376086"/>
                <a:gd name="connsiteY5" fmla="*/ 1109373 h 5262770"/>
                <a:gd name="connsiteX6" fmla="*/ 3422923 w 8376086"/>
                <a:gd name="connsiteY6" fmla="*/ 1109376 h 5262770"/>
                <a:gd name="connsiteX7" fmla="*/ 3417930 w 8376086"/>
                <a:gd name="connsiteY7" fmla="*/ 5232292 h 5262770"/>
                <a:gd name="connsiteX8" fmla="*/ 0 w 8376086"/>
                <a:gd name="connsiteY8" fmla="*/ 5232292 h 5262770"/>
                <a:gd name="connsiteX9" fmla="*/ 0 w 8376086"/>
                <a:gd name="connsiteY9" fmla="*/ 1 h 5262770"/>
                <a:gd name="connsiteX10" fmla="*/ 207370 w 8376086"/>
                <a:gd name="connsiteY10" fmla="*/ 1 h 5262770"/>
                <a:gd name="connsiteX11" fmla="*/ 207370 w 8376086"/>
                <a:gd name="connsiteY11" fmla="*/ 2 h 5262770"/>
                <a:gd name="connsiteX12" fmla="*/ 211080 w 8376086"/>
                <a:gd name="connsiteY12" fmla="*/ 2 h 5262770"/>
                <a:gd name="connsiteX13" fmla="*/ 211080 w 8376086"/>
                <a:gd name="connsiteY13" fmla="*/ 0 h 5262770"/>
                <a:gd name="connsiteX0" fmla="*/ 211080 w 8379327"/>
                <a:gd name="connsiteY0" fmla="*/ 0 h 5262770"/>
                <a:gd name="connsiteX1" fmla="*/ 8376086 w 8379327"/>
                <a:gd name="connsiteY1" fmla="*/ 0 h 5262770"/>
                <a:gd name="connsiteX2" fmla="*/ 8364512 w 8379327"/>
                <a:gd name="connsiteY2" fmla="*/ 1404013 h 5262770"/>
                <a:gd name="connsiteX3" fmla="*/ 8354352 w 8379327"/>
                <a:gd name="connsiteY3" fmla="*/ 5262770 h 5262770"/>
                <a:gd name="connsiteX4" fmla="*/ 8366001 w 8379327"/>
                <a:gd name="connsiteY4" fmla="*/ 5242450 h 5262770"/>
                <a:gd name="connsiteX5" fmla="*/ 8345681 w 8379327"/>
                <a:gd name="connsiteY5" fmla="*/ 1109373 h 5262770"/>
                <a:gd name="connsiteX6" fmla="*/ 3422923 w 8379327"/>
                <a:gd name="connsiteY6" fmla="*/ 1109376 h 5262770"/>
                <a:gd name="connsiteX7" fmla="*/ 3417930 w 8379327"/>
                <a:gd name="connsiteY7" fmla="*/ 5232292 h 5262770"/>
                <a:gd name="connsiteX8" fmla="*/ 0 w 8379327"/>
                <a:gd name="connsiteY8" fmla="*/ 5232292 h 5262770"/>
                <a:gd name="connsiteX9" fmla="*/ 0 w 8379327"/>
                <a:gd name="connsiteY9" fmla="*/ 1 h 5262770"/>
                <a:gd name="connsiteX10" fmla="*/ 207370 w 8379327"/>
                <a:gd name="connsiteY10" fmla="*/ 1 h 5262770"/>
                <a:gd name="connsiteX11" fmla="*/ 207370 w 8379327"/>
                <a:gd name="connsiteY11" fmla="*/ 2 h 5262770"/>
                <a:gd name="connsiteX12" fmla="*/ 211080 w 8379327"/>
                <a:gd name="connsiteY12" fmla="*/ 2 h 5262770"/>
                <a:gd name="connsiteX13" fmla="*/ 211080 w 8379327"/>
                <a:gd name="connsiteY13" fmla="*/ 0 h 5262770"/>
                <a:gd name="connsiteX0" fmla="*/ 211080 w 8379327"/>
                <a:gd name="connsiteY0" fmla="*/ 0 h 5262770"/>
                <a:gd name="connsiteX1" fmla="*/ 8376086 w 8379327"/>
                <a:gd name="connsiteY1" fmla="*/ 0 h 5262770"/>
                <a:gd name="connsiteX2" fmla="*/ 8364512 w 8379327"/>
                <a:gd name="connsiteY2" fmla="*/ 1404013 h 5262770"/>
                <a:gd name="connsiteX3" fmla="*/ 8354352 w 8379327"/>
                <a:gd name="connsiteY3" fmla="*/ 5262770 h 5262770"/>
                <a:gd name="connsiteX4" fmla="*/ 8366001 w 8379327"/>
                <a:gd name="connsiteY4" fmla="*/ 5242450 h 5262770"/>
                <a:gd name="connsiteX5" fmla="*/ 8345681 w 8379327"/>
                <a:gd name="connsiteY5" fmla="*/ 1086224 h 5262770"/>
                <a:gd name="connsiteX6" fmla="*/ 3422923 w 8379327"/>
                <a:gd name="connsiteY6" fmla="*/ 1109376 h 5262770"/>
                <a:gd name="connsiteX7" fmla="*/ 3417930 w 8379327"/>
                <a:gd name="connsiteY7" fmla="*/ 5232292 h 5262770"/>
                <a:gd name="connsiteX8" fmla="*/ 0 w 8379327"/>
                <a:gd name="connsiteY8" fmla="*/ 5232292 h 5262770"/>
                <a:gd name="connsiteX9" fmla="*/ 0 w 8379327"/>
                <a:gd name="connsiteY9" fmla="*/ 1 h 5262770"/>
                <a:gd name="connsiteX10" fmla="*/ 207370 w 8379327"/>
                <a:gd name="connsiteY10" fmla="*/ 1 h 5262770"/>
                <a:gd name="connsiteX11" fmla="*/ 207370 w 8379327"/>
                <a:gd name="connsiteY11" fmla="*/ 2 h 5262770"/>
                <a:gd name="connsiteX12" fmla="*/ 211080 w 8379327"/>
                <a:gd name="connsiteY12" fmla="*/ 2 h 5262770"/>
                <a:gd name="connsiteX13" fmla="*/ 211080 w 8379327"/>
                <a:gd name="connsiteY13" fmla="*/ 0 h 5262770"/>
                <a:gd name="connsiteX0" fmla="*/ 211080 w 8387864"/>
                <a:gd name="connsiteY0" fmla="*/ 0 h 5262770"/>
                <a:gd name="connsiteX1" fmla="*/ 8376086 w 8387864"/>
                <a:gd name="connsiteY1" fmla="*/ 0 h 5262770"/>
                <a:gd name="connsiteX2" fmla="*/ 8387661 w 8387864"/>
                <a:gd name="connsiteY2" fmla="*/ 1415588 h 5262770"/>
                <a:gd name="connsiteX3" fmla="*/ 8354352 w 8387864"/>
                <a:gd name="connsiteY3" fmla="*/ 5262770 h 5262770"/>
                <a:gd name="connsiteX4" fmla="*/ 8366001 w 8387864"/>
                <a:gd name="connsiteY4" fmla="*/ 5242450 h 5262770"/>
                <a:gd name="connsiteX5" fmla="*/ 8345681 w 8387864"/>
                <a:gd name="connsiteY5" fmla="*/ 1086224 h 5262770"/>
                <a:gd name="connsiteX6" fmla="*/ 3422923 w 8387864"/>
                <a:gd name="connsiteY6" fmla="*/ 1109376 h 5262770"/>
                <a:gd name="connsiteX7" fmla="*/ 3417930 w 8387864"/>
                <a:gd name="connsiteY7" fmla="*/ 5232292 h 5262770"/>
                <a:gd name="connsiteX8" fmla="*/ 0 w 8387864"/>
                <a:gd name="connsiteY8" fmla="*/ 5232292 h 5262770"/>
                <a:gd name="connsiteX9" fmla="*/ 0 w 8387864"/>
                <a:gd name="connsiteY9" fmla="*/ 1 h 5262770"/>
                <a:gd name="connsiteX10" fmla="*/ 207370 w 8387864"/>
                <a:gd name="connsiteY10" fmla="*/ 1 h 5262770"/>
                <a:gd name="connsiteX11" fmla="*/ 207370 w 8387864"/>
                <a:gd name="connsiteY11" fmla="*/ 2 h 5262770"/>
                <a:gd name="connsiteX12" fmla="*/ 211080 w 8387864"/>
                <a:gd name="connsiteY12" fmla="*/ 2 h 5262770"/>
                <a:gd name="connsiteX13" fmla="*/ 211080 w 8387864"/>
                <a:gd name="connsiteY13" fmla="*/ 0 h 5262770"/>
                <a:gd name="connsiteX0" fmla="*/ 211080 w 8390387"/>
                <a:gd name="connsiteY0" fmla="*/ 0 h 5262770"/>
                <a:gd name="connsiteX1" fmla="*/ 8376086 w 8390387"/>
                <a:gd name="connsiteY1" fmla="*/ 0 h 5262770"/>
                <a:gd name="connsiteX2" fmla="*/ 8387661 w 8390387"/>
                <a:gd name="connsiteY2" fmla="*/ 1415588 h 5262770"/>
                <a:gd name="connsiteX3" fmla="*/ 8354352 w 8390387"/>
                <a:gd name="connsiteY3" fmla="*/ 5262770 h 5262770"/>
                <a:gd name="connsiteX4" fmla="*/ 8366001 w 8390387"/>
                <a:gd name="connsiteY4" fmla="*/ 5242450 h 5262770"/>
                <a:gd name="connsiteX5" fmla="*/ 8345681 w 8390387"/>
                <a:gd name="connsiteY5" fmla="*/ 1086224 h 5262770"/>
                <a:gd name="connsiteX6" fmla="*/ 3422923 w 8390387"/>
                <a:gd name="connsiteY6" fmla="*/ 1109376 h 5262770"/>
                <a:gd name="connsiteX7" fmla="*/ 3417930 w 8390387"/>
                <a:gd name="connsiteY7" fmla="*/ 5232292 h 5262770"/>
                <a:gd name="connsiteX8" fmla="*/ 0 w 8390387"/>
                <a:gd name="connsiteY8" fmla="*/ 5232292 h 5262770"/>
                <a:gd name="connsiteX9" fmla="*/ 0 w 8390387"/>
                <a:gd name="connsiteY9" fmla="*/ 1 h 5262770"/>
                <a:gd name="connsiteX10" fmla="*/ 207370 w 8390387"/>
                <a:gd name="connsiteY10" fmla="*/ 1 h 5262770"/>
                <a:gd name="connsiteX11" fmla="*/ 207370 w 8390387"/>
                <a:gd name="connsiteY11" fmla="*/ 2 h 5262770"/>
                <a:gd name="connsiteX12" fmla="*/ 211080 w 8390387"/>
                <a:gd name="connsiteY12" fmla="*/ 2 h 5262770"/>
                <a:gd name="connsiteX13" fmla="*/ 211080 w 8390387"/>
                <a:gd name="connsiteY13" fmla="*/ 0 h 5262770"/>
                <a:gd name="connsiteX0" fmla="*/ 211080 w 8390387"/>
                <a:gd name="connsiteY0" fmla="*/ 0 h 5262770"/>
                <a:gd name="connsiteX1" fmla="*/ 8376086 w 8390387"/>
                <a:gd name="connsiteY1" fmla="*/ 0 h 5262770"/>
                <a:gd name="connsiteX2" fmla="*/ 8387661 w 8390387"/>
                <a:gd name="connsiteY2" fmla="*/ 1415588 h 5262770"/>
                <a:gd name="connsiteX3" fmla="*/ 8354352 w 8390387"/>
                <a:gd name="connsiteY3" fmla="*/ 5262770 h 5262770"/>
                <a:gd name="connsiteX4" fmla="*/ 8366001 w 8390387"/>
                <a:gd name="connsiteY4" fmla="*/ 5242450 h 5262770"/>
                <a:gd name="connsiteX5" fmla="*/ 8345681 w 8390387"/>
                <a:gd name="connsiteY5" fmla="*/ 1086224 h 5262770"/>
                <a:gd name="connsiteX6" fmla="*/ 3422923 w 8390387"/>
                <a:gd name="connsiteY6" fmla="*/ 1109376 h 5262770"/>
                <a:gd name="connsiteX7" fmla="*/ 3417930 w 8390387"/>
                <a:gd name="connsiteY7" fmla="*/ 5232292 h 5262770"/>
                <a:gd name="connsiteX8" fmla="*/ 0 w 8390387"/>
                <a:gd name="connsiteY8" fmla="*/ 5232292 h 5262770"/>
                <a:gd name="connsiteX9" fmla="*/ 0 w 8390387"/>
                <a:gd name="connsiteY9" fmla="*/ 1 h 5262770"/>
                <a:gd name="connsiteX10" fmla="*/ 207370 w 8390387"/>
                <a:gd name="connsiteY10" fmla="*/ 1 h 5262770"/>
                <a:gd name="connsiteX11" fmla="*/ 207370 w 8390387"/>
                <a:gd name="connsiteY11" fmla="*/ 2 h 5262770"/>
                <a:gd name="connsiteX12" fmla="*/ 211080 w 8390387"/>
                <a:gd name="connsiteY12" fmla="*/ 2 h 5262770"/>
                <a:gd name="connsiteX13" fmla="*/ 211080 w 8390387"/>
                <a:gd name="connsiteY13" fmla="*/ 0 h 5262770"/>
                <a:gd name="connsiteX0" fmla="*/ 211080 w 8390387"/>
                <a:gd name="connsiteY0" fmla="*/ 2 h 5262770"/>
                <a:gd name="connsiteX1" fmla="*/ 8376086 w 8390387"/>
                <a:gd name="connsiteY1" fmla="*/ 0 h 5262770"/>
                <a:gd name="connsiteX2" fmla="*/ 8387661 w 8390387"/>
                <a:gd name="connsiteY2" fmla="*/ 1415588 h 5262770"/>
                <a:gd name="connsiteX3" fmla="*/ 8354352 w 8390387"/>
                <a:gd name="connsiteY3" fmla="*/ 5262770 h 5262770"/>
                <a:gd name="connsiteX4" fmla="*/ 8366001 w 8390387"/>
                <a:gd name="connsiteY4" fmla="*/ 5242450 h 5262770"/>
                <a:gd name="connsiteX5" fmla="*/ 8345681 w 8390387"/>
                <a:gd name="connsiteY5" fmla="*/ 1086224 h 5262770"/>
                <a:gd name="connsiteX6" fmla="*/ 3422923 w 8390387"/>
                <a:gd name="connsiteY6" fmla="*/ 1109376 h 5262770"/>
                <a:gd name="connsiteX7" fmla="*/ 3417930 w 8390387"/>
                <a:gd name="connsiteY7" fmla="*/ 5232292 h 5262770"/>
                <a:gd name="connsiteX8" fmla="*/ 0 w 8390387"/>
                <a:gd name="connsiteY8" fmla="*/ 5232292 h 5262770"/>
                <a:gd name="connsiteX9" fmla="*/ 0 w 8390387"/>
                <a:gd name="connsiteY9" fmla="*/ 1 h 5262770"/>
                <a:gd name="connsiteX10" fmla="*/ 207370 w 8390387"/>
                <a:gd name="connsiteY10" fmla="*/ 1 h 5262770"/>
                <a:gd name="connsiteX11" fmla="*/ 207370 w 8390387"/>
                <a:gd name="connsiteY11" fmla="*/ 2 h 5262770"/>
                <a:gd name="connsiteX12" fmla="*/ 211080 w 8390387"/>
                <a:gd name="connsiteY12" fmla="*/ 2 h 5262770"/>
                <a:gd name="connsiteX0" fmla="*/ 207370 w 8390387"/>
                <a:gd name="connsiteY0" fmla="*/ 2 h 5262770"/>
                <a:gd name="connsiteX1" fmla="*/ 8376086 w 8390387"/>
                <a:gd name="connsiteY1" fmla="*/ 0 h 5262770"/>
                <a:gd name="connsiteX2" fmla="*/ 8387661 w 8390387"/>
                <a:gd name="connsiteY2" fmla="*/ 1415588 h 5262770"/>
                <a:gd name="connsiteX3" fmla="*/ 8354352 w 8390387"/>
                <a:gd name="connsiteY3" fmla="*/ 5262770 h 5262770"/>
                <a:gd name="connsiteX4" fmla="*/ 8366001 w 8390387"/>
                <a:gd name="connsiteY4" fmla="*/ 5242450 h 5262770"/>
                <a:gd name="connsiteX5" fmla="*/ 8345681 w 8390387"/>
                <a:gd name="connsiteY5" fmla="*/ 1086224 h 5262770"/>
                <a:gd name="connsiteX6" fmla="*/ 3422923 w 8390387"/>
                <a:gd name="connsiteY6" fmla="*/ 1109376 h 5262770"/>
                <a:gd name="connsiteX7" fmla="*/ 3417930 w 8390387"/>
                <a:gd name="connsiteY7" fmla="*/ 5232292 h 5262770"/>
                <a:gd name="connsiteX8" fmla="*/ 0 w 8390387"/>
                <a:gd name="connsiteY8" fmla="*/ 5232292 h 5262770"/>
                <a:gd name="connsiteX9" fmla="*/ 0 w 8390387"/>
                <a:gd name="connsiteY9" fmla="*/ 1 h 5262770"/>
                <a:gd name="connsiteX10" fmla="*/ 207370 w 8390387"/>
                <a:gd name="connsiteY10" fmla="*/ 1 h 5262770"/>
                <a:gd name="connsiteX11" fmla="*/ 207370 w 8390387"/>
                <a:gd name="connsiteY11" fmla="*/ 2 h 5262770"/>
                <a:gd name="connsiteX0" fmla="*/ 207370 w 8390387"/>
                <a:gd name="connsiteY0" fmla="*/ 1 h 5262770"/>
                <a:gd name="connsiteX1" fmla="*/ 8376086 w 8390387"/>
                <a:gd name="connsiteY1" fmla="*/ 0 h 5262770"/>
                <a:gd name="connsiteX2" fmla="*/ 8387661 w 8390387"/>
                <a:gd name="connsiteY2" fmla="*/ 1415588 h 5262770"/>
                <a:gd name="connsiteX3" fmla="*/ 8354352 w 8390387"/>
                <a:gd name="connsiteY3" fmla="*/ 5262770 h 5262770"/>
                <a:gd name="connsiteX4" fmla="*/ 8366001 w 8390387"/>
                <a:gd name="connsiteY4" fmla="*/ 5242450 h 5262770"/>
                <a:gd name="connsiteX5" fmla="*/ 8345681 w 8390387"/>
                <a:gd name="connsiteY5" fmla="*/ 1086224 h 5262770"/>
                <a:gd name="connsiteX6" fmla="*/ 3422923 w 8390387"/>
                <a:gd name="connsiteY6" fmla="*/ 1109376 h 5262770"/>
                <a:gd name="connsiteX7" fmla="*/ 3417930 w 8390387"/>
                <a:gd name="connsiteY7" fmla="*/ 5232292 h 5262770"/>
                <a:gd name="connsiteX8" fmla="*/ 0 w 8390387"/>
                <a:gd name="connsiteY8" fmla="*/ 5232292 h 5262770"/>
                <a:gd name="connsiteX9" fmla="*/ 0 w 8390387"/>
                <a:gd name="connsiteY9" fmla="*/ 1 h 5262770"/>
                <a:gd name="connsiteX10" fmla="*/ 207370 w 8390387"/>
                <a:gd name="connsiteY10" fmla="*/ 1 h 5262770"/>
                <a:gd name="connsiteX0" fmla="*/ 0 w 8390387"/>
                <a:gd name="connsiteY0" fmla="*/ 1 h 5262770"/>
                <a:gd name="connsiteX1" fmla="*/ 8376086 w 8390387"/>
                <a:gd name="connsiteY1" fmla="*/ 0 h 5262770"/>
                <a:gd name="connsiteX2" fmla="*/ 8387661 w 8390387"/>
                <a:gd name="connsiteY2" fmla="*/ 1415588 h 5262770"/>
                <a:gd name="connsiteX3" fmla="*/ 8354352 w 8390387"/>
                <a:gd name="connsiteY3" fmla="*/ 5262770 h 5262770"/>
                <a:gd name="connsiteX4" fmla="*/ 8366001 w 8390387"/>
                <a:gd name="connsiteY4" fmla="*/ 5242450 h 5262770"/>
                <a:gd name="connsiteX5" fmla="*/ 8345681 w 8390387"/>
                <a:gd name="connsiteY5" fmla="*/ 1086224 h 5262770"/>
                <a:gd name="connsiteX6" fmla="*/ 3422923 w 8390387"/>
                <a:gd name="connsiteY6" fmla="*/ 1109376 h 5262770"/>
                <a:gd name="connsiteX7" fmla="*/ 3417930 w 8390387"/>
                <a:gd name="connsiteY7" fmla="*/ 5232292 h 5262770"/>
                <a:gd name="connsiteX8" fmla="*/ 0 w 8390387"/>
                <a:gd name="connsiteY8" fmla="*/ 5232292 h 5262770"/>
                <a:gd name="connsiteX9" fmla="*/ 0 w 8390387"/>
                <a:gd name="connsiteY9" fmla="*/ 1 h 5262770"/>
                <a:gd name="connsiteX0" fmla="*/ 0 w 8401961"/>
                <a:gd name="connsiteY0" fmla="*/ 0 h 5285919"/>
                <a:gd name="connsiteX1" fmla="*/ 8387660 w 8401961"/>
                <a:gd name="connsiteY1" fmla="*/ 23149 h 5285919"/>
                <a:gd name="connsiteX2" fmla="*/ 8399235 w 8401961"/>
                <a:gd name="connsiteY2" fmla="*/ 1438737 h 5285919"/>
                <a:gd name="connsiteX3" fmla="*/ 8365926 w 8401961"/>
                <a:gd name="connsiteY3" fmla="*/ 5285919 h 5285919"/>
                <a:gd name="connsiteX4" fmla="*/ 8377575 w 8401961"/>
                <a:gd name="connsiteY4" fmla="*/ 5265599 h 5285919"/>
                <a:gd name="connsiteX5" fmla="*/ 8357255 w 8401961"/>
                <a:gd name="connsiteY5" fmla="*/ 1109373 h 5285919"/>
                <a:gd name="connsiteX6" fmla="*/ 3434497 w 8401961"/>
                <a:gd name="connsiteY6" fmla="*/ 1132525 h 5285919"/>
                <a:gd name="connsiteX7" fmla="*/ 3429504 w 8401961"/>
                <a:gd name="connsiteY7" fmla="*/ 5255441 h 5285919"/>
                <a:gd name="connsiteX8" fmla="*/ 11574 w 8401961"/>
                <a:gd name="connsiteY8" fmla="*/ 5255441 h 5285919"/>
                <a:gd name="connsiteX9" fmla="*/ 0 w 8401961"/>
                <a:gd name="connsiteY9" fmla="*/ 0 h 5285919"/>
                <a:gd name="connsiteX0" fmla="*/ 0 w 8401961"/>
                <a:gd name="connsiteY0" fmla="*/ 0 h 5285919"/>
                <a:gd name="connsiteX1" fmla="*/ 8387660 w 8401961"/>
                <a:gd name="connsiteY1" fmla="*/ 23149 h 5285919"/>
                <a:gd name="connsiteX2" fmla="*/ 8399235 w 8401961"/>
                <a:gd name="connsiteY2" fmla="*/ 1438737 h 5285919"/>
                <a:gd name="connsiteX3" fmla="*/ 8365926 w 8401961"/>
                <a:gd name="connsiteY3" fmla="*/ 5285919 h 5285919"/>
                <a:gd name="connsiteX4" fmla="*/ 8377575 w 8401961"/>
                <a:gd name="connsiteY4" fmla="*/ 5265599 h 5285919"/>
                <a:gd name="connsiteX5" fmla="*/ 8357255 w 8401961"/>
                <a:gd name="connsiteY5" fmla="*/ 1109373 h 5285919"/>
                <a:gd name="connsiteX6" fmla="*/ 3434497 w 8401961"/>
                <a:gd name="connsiteY6" fmla="*/ 1132525 h 5285919"/>
                <a:gd name="connsiteX7" fmla="*/ 3429504 w 8401961"/>
                <a:gd name="connsiteY7" fmla="*/ 5255441 h 5285919"/>
                <a:gd name="connsiteX8" fmla="*/ 11574 w 8401961"/>
                <a:gd name="connsiteY8" fmla="*/ 5255441 h 5285919"/>
                <a:gd name="connsiteX9" fmla="*/ 0 w 8401961"/>
                <a:gd name="connsiteY9" fmla="*/ 0 h 5285919"/>
                <a:gd name="connsiteX0" fmla="*/ 0 w 8390387"/>
                <a:gd name="connsiteY0" fmla="*/ 0 h 5285919"/>
                <a:gd name="connsiteX1" fmla="*/ 8376086 w 8390387"/>
                <a:gd name="connsiteY1" fmla="*/ 23149 h 5285919"/>
                <a:gd name="connsiteX2" fmla="*/ 8387661 w 8390387"/>
                <a:gd name="connsiteY2" fmla="*/ 1438737 h 5285919"/>
                <a:gd name="connsiteX3" fmla="*/ 8354352 w 8390387"/>
                <a:gd name="connsiteY3" fmla="*/ 5285919 h 5285919"/>
                <a:gd name="connsiteX4" fmla="*/ 8366001 w 8390387"/>
                <a:gd name="connsiteY4" fmla="*/ 5265599 h 5285919"/>
                <a:gd name="connsiteX5" fmla="*/ 8345681 w 8390387"/>
                <a:gd name="connsiteY5" fmla="*/ 1109373 h 5285919"/>
                <a:gd name="connsiteX6" fmla="*/ 3422923 w 8390387"/>
                <a:gd name="connsiteY6" fmla="*/ 1132525 h 5285919"/>
                <a:gd name="connsiteX7" fmla="*/ 3417930 w 8390387"/>
                <a:gd name="connsiteY7" fmla="*/ 5255441 h 5285919"/>
                <a:gd name="connsiteX8" fmla="*/ 0 w 8390387"/>
                <a:gd name="connsiteY8" fmla="*/ 5255441 h 5285919"/>
                <a:gd name="connsiteX9" fmla="*/ 0 w 8390387"/>
                <a:gd name="connsiteY9" fmla="*/ 0 h 5285919"/>
                <a:gd name="connsiteX0" fmla="*/ 0 w 8390387"/>
                <a:gd name="connsiteY0" fmla="*/ 0 h 5274344"/>
                <a:gd name="connsiteX1" fmla="*/ 8376086 w 8390387"/>
                <a:gd name="connsiteY1" fmla="*/ 11574 h 5274344"/>
                <a:gd name="connsiteX2" fmla="*/ 8387661 w 8390387"/>
                <a:gd name="connsiteY2" fmla="*/ 1427162 h 5274344"/>
                <a:gd name="connsiteX3" fmla="*/ 8354352 w 8390387"/>
                <a:gd name="connsiteY3" fmla="*/ 5274344 h 5274344"/>
                <a:gd name="connsiteX4" fmla="*/ 8366001 w 8390387"/>
                <a:gd name="connsiteY4" fmla="*/ 5254024 h 5274344"/>
                <a:gd name="connsiteX5" fmla="*/ 8345681 w 8390387"/>
                <a:gd name="connsiteY5" fmla="*/ 1097798 h 5274344"/>
                <a:gd name="connsiteX6" fmla="*/ 3422923 w 8390387"/>
                <a:gd name="connsiteY6" fmla="*/ 1120950 h 5274344"/>
                <a:gd name="connsiteX7" fmla="*/ 3417930 w 8390387"/>
                <a:gd name="connsiteY7" fmla="*/ 5243866 h 5274344"/>
                <a:gd name="connsiteX8" fmla="*/ 0 w 8390387"/>
                <a:gd name="connsiteY8" fmla="*/ 5243866 h 5274344"/>
                <a:gd name="connsiteX9" fmla="*/ 0 w 8390387"/>
                <a:gd name="connsiteY9" fmla="*/ 0 h 5274344"/>
                <a:gd name="connsiteX0" fmla="*/ 0 w 8402476"/>
                <a:gd name="connsiteY0" fmla="*/ 1 h 5274345"/>
                <a:gd name="connsiteX1" fmla="*/ 8399235 w 8402476"/>
                <a:gd name="connsiteY1" fmla="*/ 0 h 5274345"/>
                <a:gd name="connsiteX2" fmla="*/ 8387661 w 8402476"/>
                <a:gd name="connsiteY2" fmla="*/ 1427163 h 5274345"/>
                <a:gd name="connsiteX3" fmla="*/ 8354352 w 8402476"/>
                <a:gd name="connsiteY3" fmla="*/ 5274345 h 5274345"/>
                <a:gd name="connsiteX4" fmla="*/ 8366001 w 8402476"/>
                <a:gd name="connsiteY4" fmla="*/ 5254025 h 5274345"/>
                <a:gd name="connsiteX5" fmla="*/ 8345681 w 8402476"/>
                <a:gd name="connsiteY5" fmla="*/ 1097799 h 5274345"/>
                <a:gd name="connsiteX6" fmla="*/ 3422923 w 8402476"/>
                <a:gd name="connsiteY6" fmla="*/ 1120951 h 5274345"/>
                <a:gd name="connsiteX7" fmla="*/ 3417930 w 8402476"/>
                <a:gd name="connsiteY7" fmla="*/ 5243867 h 5274345"/>
                <a:gd name="connsiteX8" fmla="*/ 0 w 8402476"/>
                <a:gd name="connsiteY8" fmla="*/ 5243867 h 5274345"/>
                <a:gd name="connsiteX9" fmla="*/ 0 w 8402476"/>
                <a:gd name="connsiteY9" fmla="*/ 1 h 5274345"/>
                <a:gd name="connsiteX0" fmla="*/ 0 w 8399235"/>
                <a:gd name="connsiteY0" fmla="*/ 1 h 5274345"/>
                <a:gd name="connsiteX1" fmla="*/ 8399235 w 8399235"/>
                <a:gd name="connsiteY1" fmla="*/ 0 h 5274345"/>
                <a:gd name="connsiteX2" fmla="*/ 8387661 w 8399235"/>
                <a:gd name="connsiteY2" fmla="*/ 1427163 h 5274345"/>
                <a:gd name="connsiteX3" fmla="*/ 8354352 w 8399235"/>
                <a:gd name="connsiteY3" fmla="*/ 5274345 h 5274345"/>
                <a:gd name="connsiteX4" fmla="*/ 8366001 w 8399235"/>
                <a:gd name="connsiteY4" fmla="*/ 5254025 h 5274345"/>
                <a:gd name="connsiteX5" fmla="*/ 8345681 w 8399235"/>
                <a:gd name="connsiteY5" fmla="*/ 1097799 h 5274345"/>
                <a:gd name="connsiteX6" fmla="*/ 3422923 w 8399235"/>
                <a:gd name="connsiteY6" fmla="*/ 1120951 h 5274345"/>
                <a:gd name="connsiteX7" fmla="*/ 3417930 w 8399235"/>
                <a:gd name="connsiteY7" fmla="*/ 5243867 h 5274345"/>
                <a:gd name="connsiteX8" fmla="*/ 0 w 8399235"/>
                <a:gd name="connsiteY8" fmla="*/ 5243867 h 5274345"/>
                <a:gd name="connsiteX9" fmla="*/ 0 w 8399235"/>
                <a:gd name="connsiteY9" fmla="*/ 1 h 5274345"/>
                <a:gd name="connsiteX0" fmla="*/ 0 w 8390387"/>
                <a:gd name="connsiteY0" fmla="*/ 11576 h 5285920"/>
                <a:gd name="connsiteX1" fmla="*/ 8376086 w 8390387"/>
                <a:gd name="connsiteY1" fmla="*/ 0 h 5285920"/>
                <a:gd name="connsiteX2" fmla="*/ 8387661 w 8390387"/>
                <a:gd name="connsiteY2" fmla="*/ 1438738 h 5285920"/>
                <a:gd name="connsiteX3" fmla="*/ 8354352 w 8390387"/>
                <a:gd name="connsiteY3" fmla="*/ 5285920 h 5285920"/>
                <a:gd name="connsiteX4" fmla="*/ 8366001 w 8390387"/>
                <a:gd name="connsiteY4" fmla="*/ 5265600 h 5285920"/>
                <a:gd name="connsiteX5" fmla="*/ 8345681 w 8390387"/>
                <a:gd name="connsiteY5" fmla="*/ 1109374 h 5285920"/>
                <a:gd name="connsiteX6" fmla="*/ 3422923 w 8390387"/>
                <a:gd name="connsiteY6" fmla="*/ 1132526 h 5285920"/>
                <a:gd name="connsiteX7" fmla="*/ 3417930 w 8390387"/>
                <a:gd name="connsiteY7" fmla="*/ 5255442 h 5285920"/>
                <a:gd name="connsiteX8" fmla="*/ 0 w 8390387"/>
                <a:gd name="connsiteY8" fmla="*/ 5255442 h 5285920"/>
                <a:gd name="connsiteX9" fmla="*/ 0 w 8390387"/>
                <a:gd name="connsiteY9" fmla="*/ 11576 h 5285920"/>
                <a:gd name="connsiteX0" fmla="*/ 0 w 8379444"/>
                <a:gd name="connsiteY0" fmla="*/ 11576 h 5285920"/>
                <a:gd name="connsiteX1" fmla="*/ 8376086 w 8379444"/>
                <a:gd name="connsiteY1" fmla="*/ 0 h 5285920"/>
                <a:gd name="connsiteX2" fmla="*/ 8376086 w 8379444"/>
                <a:gd name="connsiteY2" fmla="*/ 1438738 h 5285920"/>
                <a:gd name="connsiteX3" fmla="*/ 8354352 w 8379444"/>
                <a:gd name="connsiteY3" fmla="*/ 5285920 h 5285920"/>
                <a:gd name="connsiteX4" fmla="*/ 8366001 w 8379444"/>
                <a:gd name="connsiteY4" fmla="*/ 5265600 h 5285920"/>
                <a:gd name="connsiteX5" fmla="*/ 8345681 w 8379444"/>
                <a:gd name="connsiteY5" fmla="*/ 1109374 h 5285920"/>
                <a:gd name="connsiteX6" fmla="*/ 3422923 w 8379444"/>
                <a:gd name="connsiteY6" fmla="*/ 1132526 h 5285920"/>
                <a:gd name="connsiteX7" fmla="*/ 3417930 w 8379444"/>
                <a:gd name="connsiteY7" fmla="*/ 5255442 h 5285920"/>
                <a:gd name="connsiteX8" fmla="*/ 0 w 8379444"/>
                <a:gd name="connsiteY8" fmla="*/ 5255442 h 5285920"/>
                <a:gd name="connsiteX9" fmla="*/ 0 w 8379444"/>
                <a:gd name="connsiteY9" fmla="*/ 11576 h 528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79444" h="5285920">
                  <a:moveTo>
                    <a:pt x="0" y="11576"/>
                  </a:moveTo>
                  <a:lnTo>
                    <a:pt x="8376086" y="0"/>
                  </a:lnTo>
                  <a:lnTo>
                    <a:pt x="8376086" y="1438738"/>
                  </a:lnTo>
                  <a:cubicBezTo>
                    <a:pt x="8391048" y="2724990"/>
                    <a:pt x="8350965" y="3999668"/>
                    <a:pt x="8354352" y="5285920"/>
                  </a:cubicBezTo>
                  <a:lnTo>
                    <a:pt x="8366001" y="5265600"/>
                  </a:lnTo>
                  <a:cubicBezTo>
                    <a:pt x="8362614" y="3996281"/>
                    <a:pt x="8349068" y="2378693"/>
                    <a:pt x="8345681" y="1109374"/>
                  </a:cubicBezTo>
                  <a:lnTo>
                    <a:pt x="3422923" y="1132526"/>
                  </a:lnTo>
                  <a:cubicBezTo>
                    <a:pt x="3424645" y="2405231"/>
                    <a:pt x="3416208" y="3982737"/>
                    <a:pt x="3417930" y="5255442"/>
                  </a:cubicBezTo>
                  <a:lnTo>
                    <a:pt x="0" y="5255442"/>
                  </a:lnTo>
                  <a:lnTo>
                    <a:pt x="0" y="11576"/>
                  </a:lnTo>
                  <a:close/>
                </a:path>
              </a:pathLst>
            </a:custGeom>
            <a:solidFill>
              <a:schemeClr val="tx1">
                <a:lumMod val="85000"/>
                <a:lumOff val="1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yellow highlight">
              <a:extLst>
                <a:ext uri="{FF2B5EF4-FFF2-40B4-BE49-F238E27FC236}">
                  <a16:creationId xmlns:a16="http://schemas.microsoft.com/office/drawing/2014/main" id="{648AD1D3-ABB9-8C4C-91C9-0AC97E30D91F}"/>
                </a:ext>
              </a:extLst>
            </p:cNvPr>
            <p:cNvSpPr/>
            <p:nvPr/>
          </p:nvSpPr>
          <p:spPr>
            <a:xfrm>
              <a:off x="5211501" y="2519680"/>
              <a:ext cx="4907791" cy="4130307"/>
            </a:xfrm>
            <a:prstGeom prst="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6" name="Teacher only highlight">
            <a:extLst>
              <a:ext uri="{FF2B5EF4-FFF2-40B4-BE49-F238E27FC236}">
                <a16:creationId xmlns:a16="http://schemas.microsoft.com/office/drawing/2014/main" id="{2FA529C1-B738-524D-B61D-0ED4E920D7AC}"/>
              </a:ext>
            </a:extLst>
          </p:cNvPr>
          <p:cNvGrpSpPr/>
          <p:nvPr/>
        </p:nvGrpSpPr>
        <p:grpSpPr>
          <a:xfrm>
            <a:off x="1756456" y="1417693"/>
            <a:ext cx="8381822" cy="5241437"/>
            <a:chOff x="1756456" y="1417693"/>
            <a:chExt cx="8381822" cy="5241437"/>
          </a:xfrm>
        </p:grpSpPr>
        <p:sp>
          <p:nvSpPr>
            <p:cNvPr id="85" name="Freeform 84">
              <a:extLst>
                <a:ext uri="{FF2B5EF4-FFF2-40B4-BE49-F238E27FC236}">
                  <a16:creationId xmlns:a16="http://schemas.microsoft.com/office/drawing/2014/main" id="{32B05D2F-6152-0140-815F-5CCEB13D365C}"/>
                </a:ext>
              </a:extLst>
            </p:cNvPr>
            <p:cNvSpPr/>
            <p:nvPr/>
          </p:nvSpPr>
          <p:spPr>
            <a:xfrm>
              <a:off x="1756456" y="1417693"/>
              <a:ext cx="8381822" cy="5241437"/>
            </a:xfrm>
            <a:custGeom>
              <a:avLst/>
              <a:gdLst>
                <a:gd name="connsiteX0" fmla="*/ 219006 w 8381819"/>
                <a:gd name="connsiteY0" fmla="*/ 2284484 h 5232293"/>
                <a:gd name="connsiteX1" fmla="*/ 219006 w 8381819"/>
                <a:gd name="connsiteY1" fmla="*/ 2577942 h 5232293"/>
                <a:gd name="connsiteX2" fmla="*/ 1833418 w 8381819"/>
                <a:gd name="connsiteY2" fmla="*/ 2577942 h 5232293"/>
                <a:gd name="connsiteX3" fmla="*/ 1833418 w 8381819"/>
                <a:gd name="connsiteY3" fmla="*/ 2284484 h 5232293"/>
                <a:gd name="connsiteX4" fmla="*/ 0 w 8381819"/>
                <a:gd name="connsiteY4" fmla="*/ 0 h 5232293"/>
                <a:gd name="connsiteX5" fmla="*/ 8369736 w 8381819"/>
                <a:gd name="connsiteY5" fmla="*/ 0 h 5232293"/>
                <a:gd name="connsiteX6" fmla="*/ 8369736 w 8381819"/>
                <a:gd name="connsiteY6" fmla="*/ 1926349 h 5232293"/>
                <a:gd name="connsiteX7" fmla="*/ 8381819 w 8381819"/>
                <a:gd name="connsiteY7" fmla="*/ 1926349 h 5232293"/>
                <a:gd name="connsiteX8" fmla="*/ 8381819 w 8381819"/>
                <a:gd name="connsiteY8" fmla="*/ 4580700 h 5232293"/>
                <a:gd name="connsiteX9" fmla="*/ 8380441 w 8381819"/>
                <a:gd name="connsiteY9" fmla="*/ 4580700 h 5232293"/>
                <a:gd name="connsiteX10" fmla="*/ 8380441 w 8381819"/>
                <a:gd name="connsiteY10" fmla="*/ 5232293 h 5232293"/>
                <a:gd name="connsiteX11" fmla="*/ 0 w 8381819"/>
                <a:gd name="connsiteY11" fmla="*/ 5232293 h 5232293"/>
                <a:gd name="connsiteX12" fmla="*/ 0 w 8381819"/>
                <a:gd name="connsiteY12" fmla="*/ 2577942 h 5232293"/>
                <a:gd name="connsiteX13" fmla="*/ 6025 w 8381819"/>
                <a:gd name="connsiteY13" fmla="*/ 2577942 h 5232293"/>
                <a:gd name="connsiteX14" fmla="*/ 6025 w 8381819"/>
                <a:gd name="connsiteY14" fmla="*/ 2284484 h 5232293"/>
                <a:gd name="connsiteX15" fmla="*/ 0 w 8381819"/>
                <a:gd name="connsiteY15" fmla="*/ 2284484 h 5232293"/>
                <a:gd name="connsiteX0" fmla="*/ 219006 w 8381819"/>
                <a:gd name="connsiteY0" fmla="*/ 2284484 h 5241437"/>
                <a:gd name="connsiteX1" fmla="*/ 219006 w 8381819"/>
                <a:gd name="connsiteY1" fmla="*/ 2577942 h 5241437"/>
                <a:gd name="connsiteX2" fmla="*/ 1833418 w 8381819"/>
                <a:gd name="connsiteY2" fmla="*/ 2577942 h 5241437"/>
                <a:gd name="connsiteX3" fmla="*/ 1833418 w 8381819"/>
                <a:gd name="connsiteY3" fmla="*/ 2284484 h 5241437"/>
                <a:gd name="connsiteX4" fmla="*/ 219006 w 8381819"/>
                <a:gd name="connsiteY4" fmla="*/ 2284484 h 5241437"/>
                <a:gd name="connsiteX5" fmla="*/ 0 w 8381819"/>
                <a:gd name="connsiteY5" fmla="*/ 0 h 5241437"/>
                <a:gd name="connsiteX6" fmla="*/ 8369736 w 8381819"/>
                <a:gd name="connsiteY6" fmla="*/ 0 h 5241437"/>
                <a:gd name="connsiteX7" fmla="*/ 8369736 w 8381819"/>
                <a:gd name="connsiteY7" fmla="*/ 1926349 h 5241437"/>
                <a:gd name="connsiteX8" fmla="*/ 8381819 w 8381819"/>
                <a:gd name="connsiteY8" fmla="*/ 1926349 h 5241437"/>
                <a:gd name="connsiteX9" fmla="*/ 8381819 w 8381819"/>
                <a:gd name="connsiteY9" fmla="*/ 4580700 h 5241437"/>
                <a:gd name="connsiteX10" fmla="*/ 8380441 w 8381819"/>
                <a:gd name="connsiteY10" fmla="*/ 4580700 h 5241437"/>
                <a:gd name="connsiteX11" fmla="*/ 8380441 w 8381819"/>
                <a:gd name="connsiteY11" fmla="*/ 5232293 h 5241437"/>
                <a:gd name="connsiteX12" fmla="*/ 0 w 8381819"/>
                <a:gd name="connsiteY12" fmla="*/ 5241437 h 5241437"/>
                <a:gd name="connsiteX13" fmla="*/ 0 w 8381819"/>
                <a:gd name="connsiteY13" fmla="*/ 2577942 h 5241437"/>
                <a:gd name="connsiteX14" fmla="*/ 6025 w 8381819"/>
                <a:gd name="connsiteY14" fmla="*/ 2577942 h 5241437"/>
                <a:gd name="connsiteX15" fmla="*/ 6025 w 8381819"/>
                <a:gd name="connsiteY15" fmla="*/ 2284484 h 5241437"/>
                <a:gd name="connsiteX16" fmla="*/ 0 w 8381819"/>
                <a:gd name="connsiteY16" fmla="*/ 2284484 h 5241437"/>
                <a:gd name="connsiteX17" fmla="*/ 0 w 8381819"/>
                <a:gd name="connsiteY17" fmla="*/ 0 h 5241437"/>
                <a:gd name="connsiteX0" fmla="*/ 219006 w 8381819"/>
                <a:gd name="connsiteY0" fmla="*/ 2284484 h 5241437"/>
                <a:gd name="connsiteX1" fmla="*/ 219006 w 8381819"/>
                <a:gd name="connsiteY1" fmla="*/ 2577942 h 5241437"/>
                <a:gd name="connsiteX2" fmla="*/ 1833418 w 8381819"/>
                <a:gd name="connsiteY2" fmla="*/ 2577942 h 5241437"/>
                <a:gd name="connsiteX3" fmla="*/ 1833418 w 8381819"/>
                <a:gd name="connsiteY3" fmla="*/ 2284484 h 5241437"/>
                <a:gd name="connsiteX4" fmla="*/ 219006 w 8381819"/>
                <a:gd name="connsiteY4" fmla="*/ 2284484 h 5241437"/>
                <a:gd name="connsiteX5" fmla="*/ 0 w 8381819"/>
                <a:gd name="connsiteY5" fmla="*/ 0 h 5241437"/>
                <a:gd name="connsiteX6" fmla="*/ 8369736 w 8381819"/>
                <a:gd name="connsiteY6" fmla="*/ 0 h 5241437"/>
                <a:gd name="connsiteX7" fmla="*/ 8369736 w 8381819"/>
                <a:gd name="connsiteY7" fmla="*/ 1926349 h 5241437"/>
                <a:gd name="connsiteX8" fmla="*/ 8381819 w 8381819"/>
                <a:gd name="connsiteY8" fmla="*/ 1926349 h 5241437"/>
                <a:gd name="connsiteX9" fmla="*/ 8381819 w 8381819"/>
                <a:gd name="connsiteY9" fmla="*/ 4580700 h 5241437"/>
                <a:gd name="connsiteX10" fmla="*/ 8380441 w 8381819"/>
                <a:gd name="connsiteY10" fmla="*/ 4580700 h 5241437"/>
                <a:gd name="connsiteX11" fmla="*/ 8380441 w 8381819"/>
                <a:gd name="connsiteY11" fmla="*/ 5232293 h 5241437"/>
                <a:gd name="connsiteX12" fmla="*/ 0 w 8381819"/>
                <a:gd name="connsiteY12" fmla="*/ 5241437 h 5241437"/>
                <a:gd name="connsiteX13" fmla="*/ 0 w 8381819"/>
                <a:gd name="connsiteY13" fmla="*/ 2577942 h 5241437"/>
                <a:gd name="connsiteX14" fmla="*/ 6025 w 8381819"/>
                <a:gd name="connsiteY14" fmla="*/ 2577942 h 5241437"/>
                <a:gd name="connsiteX15" fmla="*/ 6025 w 8381819"/>
                <a:gd name="connsiteY15" fmla="*/ 2284484 h 5241437"/>
                <a:gd name="connsiteX16" fmla="*/ 0 w 8381819"/>
                <a:gd name="connsiteY16" fmla="*/ 2284484 h 5241437"/>
                <a:gd name="connsiteX17" fmla="*/ 0 w 8381819"/>
                <a:gd name="connsiteY17" fmla="*/ 0 h 5241437"/>
                <a:gd name="connsiteX0" fmla="*/ 219006 w 8381819"/>
                <a:gd name="connsiteY0" fmla="*/ 2284484 h 5241437"/>
                <a:gd name="connsiteX1" fmla="*/ 219006 w 8381819"/>
                <a:gd name="connsiteY1" fmla="*/ 2577942 h 5241437"/>
                <a:gd name="connsiteX2" fmla="*/ 1833418 w 8381819"/>
                <a:gd name="connsiteY2" fmla="*/ 2577942 h 5241437"/>
                <a:gd name="connsiteX3" fmla="*/ 1833418 w 8381819"/>
                <a:gd name="connsiteY3" fmla="*/ 2284484 h 5241437"/>
                <a:gd name="connsiteX4" fmla="*/ 219006 w 8381819"/>
                <a:gd name="connsiteY4" fmla="*/ 2284484 h 5241437"/>
                <a:gd name="connsiteX5" fmla="*/ 0 w 8381819"/>
                <a:gd name="connsiteY5" fmla="*/ 0 h 5241437"/>
                <a:gd name="connsiteX6" fmla="*/ 8369736 w 8381819"/>
                <a:gd name="connsiteY6" fmla="*/ 0 h 5241437"/>
                <a:gd name="connsiteX7" fmla="*/ 8369736 w 8381819"/>
                <a:gd name="connsiteY7" fmla="*/ 1926349 h 5241437"/>
                <a:gd name="connsiteX8" fmla="*/ 8381819 w 8381819"/>
                <a:gd name="connsiteY8" fmla="*/ 1926349 h 5241437"/>
                <a:gd name="connsiteX9" fmla="*/ 8381819 w 8381819"/>
                <a:gd name="connsiteY9" fmla="*/ 4580700 h 5241437"/>
                <a:gd name="connsiteX10" fmla="*/ 8380441 w 8381819"/>
                <a:gd name="connsiteY10" fmla="*/ 4580700 h 5241437"/>
                <a:gd name="connsiteX11" fmla="*/ 8371297 w 8381819"/>
                <a:gd name="connsiteY11" fmla="*/ 5241437 h 5241437"/>
                <a:gd name="connsiteX12" fmla="*/ 0 w 8381819"/>
                <a:gd name="connsiteY12" fmla="*/ 5241437 h 5241437"/>
                <a:gd name="connsiteX13" fmla="*/ 0 w 8381819"/>
                <a:gd name="connsiteY13" fmla="*/ 2577942 h 5241437"/>
                <a:gd name="connsiteX14" fmla="*/ 6025 w 8381819"/>
                <a:gd name="connsiteY14" fmla="*/ 2577942 h 5241437"/>
                <a:gd name="connsiteX15" fmla="*/ 6025 w 8381819"/>
                <a:gd name="connsiteY15" fmla="*/ 2284484 h 5241437"/>
                <a:gd name="connsiteX16" fmla="*/ 0 w 8381819"/>
                <a:gd name="connsiteY16" fmla="*/ 2284484 h 5241437"/>
                <a:gd name="connsiteX17" fmla="*/ 0 w 8381819"/>
                <a:gd name="connsiteY17" fmla="*/ 0 h 5241437"/>
                <a:gd name="connsiteX0" fmla="*/ 219006 w 8381819"/>
                <a:gd name="connsiteY0" fmla="*/ 2284484 h 5241437"/>
                <a:gd name="connsiteX1" fmla="*/ 219006 w 8381819"/>
                <a:gd name="connsiteY1" fmla="*/ 2577942 h 5241437"/>
                <a:gd name="connsiteX2" fmla="*/ 1833418 w 8381819"/>
                <a:gd name="connsiteY2" fmla="*/ 2577942 h 5241437"/>
                <a:gd name="connsiteX3" fmla="*/ 1833418 w 8381819"/>
                <a:gd name="connsiteY3" fmla="*/ 2284484 h 5241437"/>
                <a:gd name="connsiteX4" fmla="*/ 219006 w 8381819"/>
                <a:gd name="connsiteY4" fmla="*/ 2284484 h 5241437"/>
                <a:gd name="connsiteX5" fmla="*/ 0 w 8381819"/>
                <a:gd name="connsiteY5" fmla="*/ 0 h 5241437"/>
                <a:gd name="connsiteX6" fmla="*/ 8381311 w 8381819"/>
                <a:gd name="connsiteY6" fmla="*/ 0 h 5241437"/>
                <a:gd name="connsiteX7" fmla="*/ 8369736 w 8381819"/>
                <a:gd name="connsiteY7" fmla="*/ 1926349 h 5241437"/>
                <a:gd name="connsiteX8" fmla="*/ 8381819 w 8381819"/>
                <a:gd name="connsiteY8" fmla="*/ 1926349 h 5241437"/>
                <a:gd name="connsiteX9" fmla="*/ 8381819 w 8381819"/>
                <a:gd name="connsiteY9" fmla="*/ 4580700 h 5241437"/>
                <a:gd name="connsiteX10" fmla="*/ 8380441 w 8381819"/>
                <a:gd name="connsiteY10" fmla="*/ 4580700 h 5241437"/>
                <a:gd name="connsiteX11" fmla="*/ 8371297 w 8381819"/>
                <a:gd name="connsiteY11" fmla="*/ 5241437 h 5241437"/>
                <a:gd name="connsiteX12" fmla="*/ 0 w 8381819"/>
                <a:gd name="connsiteY12" fmla="*/ 5241437 h 5241437"/>
                <a:gd name="connsiteX13" fmla="*/ 0 w 8381819"/>
                <a:gd name="connsiteY13" fmla="*/ 2577942 h 5241437"/>
                <a:gd name="connsiteX14" fmla="*/ 6025 w 8381819"/>
                <a:gd name="connsiteY14" fmla="*/ 2577942 h 5241437"/>
                <a:gd name="connsiteX15" fmla="*/ 6025 w 8381819"/>
                <a:gd name="connsiteY15" fmla="*/ 2284484 h 5241437"/>
                <a:gd name="connsiteX16" fmla="*/ 0 w 8381819"/>
                <a:gd name="connsiteY16" fmla="*/ 2284484 h 5241437"/>
                <a:gd name="connsiteX17" fmla="*/ 0 w 8381819"/>
                <a:gd name="connsiteY17" fmla="*/ 0 h 5241437"/>
                <a:gd name="connsiteX0" fmla="*/ 219006 w 8383441"/>
                <a:gd name="connsiteY0" fmla="*/ 2284484 h 5241437"/>
                <a:gd name="connsiteX1" fmla="*/ 219006 w 8383441"/>
                <a:gd name="connsiteY1" fmla="*/ 2577942 h 5241437"/>
                <a:gd name="connsiteX2" fmla="*/ 1833418 w 8383441"/>
                <a:gd name="connsiteY2" fmla="*/ 2577942 h 5241437"/>
                <a:gd name="connsiteX3" fmla="*/ 1833418 w 8383441"/>
                <a:gd name="connsiteY3" fmla="*/ 2284484 h 5241437"/>
                <a:gd name="connsiteX4" fmla="*/ 219006 w 8383441"/>
                <a:gd name="connsiteY4" fmla="*/ 2284484 h 5241437"/>
                <a:gd name="connsiteX5" fmla="*/ 0 w 8383441"/>
                <a:gd name="connsiteY5" fmla="*/ 0 h 5241437"/>
                <a:gd name="connsiteX6" fmla="*/ 8381311 w 8383441"/>
                <a:gd name="connsiteY6" fmla="*/ 0 h 5241437"/>
                <a:gd name="connsiteX7" fmla="*/ 8369736 w 8383441"/>
                <a:gd name="connsiteY7" fmla="*/ 1926349 h 5241437"/>
                <a:gd name="connsiteX8" fmla="*/ 8381819 w 8383441"/>
                <a:gd name="connsiteY8" fmla="*/ 1926349 h 5241437"/>
                <a:gd name="connsiteX9" fmla="*/ 8381819 w 8383441"/>
                <a:gd name="connsiteY9" fmla="*/ 4580700 h 5241437"/>
                <a:gd name="connsiteX10" fmla="*/ 8380441 w 8383441"/>
                <a:gd name="connsiteY10" fmla="*/ 4580700 h 5241437"/>
                <a:gd name="connsiteX11" fmla="*/ 8371297 w 8383441"/>
                <a:gd name="connsiteY11" fmla="*/ 5241437 h 5241437"/>
                <a:gd name="connsiteX12" fmla="*/ 0 w 8383441"/>
                <a:gd name="connsiteY12" fmla="*/ 5241437 h 5241437"/>
                <a:gd name="connsiteX13" fmla="*/ 0 w 8383441"/>
                <a:gd name="connsiteY13" fmla="*/ 2577942 h 5241437"/>
                <a:gd name="connsiteX14" fmla="*/ 6025 w 8383441"/>
                <a:gd name="connsiteY14" fmla="*/ 2577942 h 5241437"/>
                <a:gd name="connsiteX15" fmla="*/ 6025 w 8383441"/>
                <a:gd name="connsiteY15" fmla="*/ 2284484 h 5241437"/>
                <a:gd name="connsiteX16" fmla="*/ 0 w 8383441"/>
                <a:gd name="connsiteY16" fmla="*/ 2284484 h 5241437"/>
                <a:gd name="connsiteX17" fmla="*/ 0 w 8383441"/>
                <a:gd name="connsiteY17" fmla="*/ 0 h 5241437"/>
                <a:gd name="connsiteX0" fmla="*/ 219006 w 8383441"/>
                <a:gd name="connsiteY0" fmla="*/ 2284484 h 5241437"/>
                <a:gd name="connsiteX1" fmla="*/ 219006 w 8383441"/>
                <a:gd name="connsiteY1" fmla="*/ 2577942 h 5241437"/>
                <a:gd name="connsiteX2" fmla="*/ 1833418 w 8383441"/>
                <a:gd name="connsiteY2" fmla="*/ 2577942 h 5241437"/>
                <a:gd name="connsiteX3" fmla="*/ 1833418 w 8383441"/>
                <a:gd name="connsiteY3" fmla="*/ 2284484 h 5241437"/>
                <a:gd name="connsiteX4" fmla="*/ 219006 w 8383441"/>
                <a:gd name="connsiteY4" fmla="*/ 2284484 h 5241437"/>
                <a:gd name="connsiteX5" fmla="*/ 0 w 8383441"/>
                <a:gd name="connsiteY5" fmla="*/ 0 h 5241437"/>
                <a:gd name="connsiteX6" fmla="*/ 8381311 w 8383441"/>
                <a:gd name="connsiteY6" fmla="*/ 0 h 5241437"/>
                <a:gd name="connsiteX7" fmla="*/ 8369736 w 8383441"/>
                <a:gd name="connsiteY7" fmla="*/ 1926349 h 5241437"/>
                <a:gd name="connsiteX8" fmla="*/ 8381819 w 8383441"/>
                <a:gd name="connsiteY8" fmla="*/ 1961074 h 5241437"/>
                <a:gd name="connsiteX9" fmla="*/ 8381819 w 8383441"/>
                <a:gd name="connsiteY9" fmla="*/ 4580700 h 5241437"/>
                <a:gd name="connsiteX10" fmla="*/ 8380441 w 8383441"/>
                <a:gd name="connsiteY10" fmla="*/ 4580700 h 5241437"/>
                <a:gd name="connsiteX11" fmla="*/ 8371297 w 8383441"/>
                <a:gd name="connsiteY11" fmla="*/ 5241437 h 5241437"/>
                <a:gd name="connsiteX12" fmla="*/ 0 w 8383441"/>
                <a:gd name="connsiteY12" fmla="*/ 5241437 h 5241437"/>
                <a:gd name="connsiteX13" fmla="*/ 0 w 8383441"/>
                <a:gd name="connsiteY13" fmla="*/ 2577942 h 5241437"/>
                <a:gd name="connsiteX14" fmla="*/ 6025 w 8383441"/>
                <a:gd name="connsiteY14" fmla="*/ 2577942 h 5241437"/>
                <a:gd name="connsiteX15" fmla="*/ 6025 w 8383441"/>
                <a:gd name="connsiteY15" fmla="*/ 2284484 h 5241437"/>
                <a:gd name="connsiteX16" fmla="*/ 0 w 8383441"/>
                <a:gd name="connsiteY16" fmla="*/ 2284484 h 5241437"/>
                <a:gd name="connsiteX17" fmla="*/ 0 w 8383441"/>
                <a:gd name="connsiteY17" fmla="*/ 0 h 5241437"/>
                <a:gd name="connsiteX0" fmla="*/ 219006 w 8383441"/>
                <a:gd name="connsiteY0" fmla="*/ 2284484 h 5241437"/>
                <a:gd name="connsiteX1" fmla="*/ 219006 w 8383441"/>
                <a:gd name="connsiteY1" fmla="*/ 2577942 h 5241437"/>
                <a:gd name="connsiteX2" fmla="*/ 1833418 w 8383441"/>
                <a:gd name="connsiteY2" fmla="*/ 2577942 h 5241437"/>
                <a:gd name="connsiteX3" fmla="*/ 1833418 w 8383441"/>
                <a:gd name="connsiteY3" fmla="*/ 2284484 h 5241437"/>
                <a:gd name="connsiteX4" fmla="*/ 219006 w 8383441"/>
                <a:gd name="connsiteY4" fmla="*/ 2284484 h 5241437"/>
                <a:gd name="connsiteX5" fmla="*/ 0 w 8383441"/>
                <a:gd name="connsiteY5" fmla="*/ 0 h 5241437"/>
                <a:gd name="connsiteX6" fmla="*/ 8381311 w 8383441"/>
                <a:gd name="connsiteY6" fmla="*/ 0 h 5241437"/>
                <a:gd name="connsiteX7" fmla="*/ 8369736 w 8383441"/>
                <a:gd name="connsiteY7" fmla="*/ 1926349 h 5241437"/>
                <a:gd name="connsiteX8" fmla="*/ 8381819 w 8383441"/>
                <a:gd name="connsiteY8" fmla="*/ 4580700 h 5241437"/>
                <a:gd name="connsiteX9" fmla="*/ 8380441 w 8383441"/>
                <a:gd name="connsiteY9" fmla="*/ 4580700 h 5241437"/>
                <a:gd name="connsiteX10" fmla="*/ 8371297 w 8383441"/>
                <a:gd name="connsiteY10" fmla="*/ 5241437 h 5241437"/>
                <a:gd name="connsiteX11" fmla="*/ 0 w 8383441"/>
                <a:gd name="connsiteY11" fmla="*/ 5241437 h 5241437"/>
                <a:gd name="connsiteX12" fmla="*/ 0 w 8383441"/>
                <a:gd name="connsiteY12" fmla="*/ 2577942 h 5241437"/>
                <a:gd name="connsiteX13" fmla="*/ 6025 w 8383441"/>
                <a:gd name="connsiteY13" fmla="*/ 2577942 h 5241437"/>
                <a:gd name="connsiteX14" fmla="*/ 6025 w 8383441"/>
                <a:gd name="connsiteY14" fmla="*/ 2284484 h 5241437"/>
                <a:gd name="connsiteX15" fmla="*/ 0 w 8383441"/>
                <a:gd name="connsiteY15" fmla="*/ 2284484 h 5241437"/>
                <a:gd name="connsiteX16" fmla="*/ 0 w 8383441"/>
                <a:gd name="connsiteY16" fmla="*/ 0 h 5241437"/>
                <a:gd name="connsiteX0" fmla="*/ 219006 w 9002350"/>
                <a:gd name="connsiteY0" fmla="*/ 2284484 h 5241437"/>
                <a:gd name="connsiteX1" fmla="*/ 219006 w 9002350"/>
                <a:gd name="connsiteY1" fmla="*/ 2577942 h 5241437"/>
                <a:gd name="connsiteX2" fmla="*/ 1833418 w 9002350"/>
                <a:gd name="connsiteY2" fmla="*/ 2577942 h 5241437"/>
                <a:gd name="connsiteX3" fmla="*/ 1833418 w 9002350"/>
                <a:gd name="connsiteY3" fmla="*/ 2284484 h 5241437"/>
                <a:gd name="connsiteX4" fmla="*/ 219006 w 9002350"/>
                <a:gd name="connsiteY4" fmla="*/ 2284484 h 5241437"/>
                <a:gd name="connsiteX5" fmla="*/ 0 w 9002350"/>
                <a:gd name="connsiteY5" fmla="*/ 0 h 5241437"/>
                <a:gd name="connsiteX6" fmla="*/ 8381311 w 9002350"/>
                <a:gd name="connsiteY6" fmla="*/ 0 h 5241437"/>
                <a:gd name="connsiteX7" fmla="*/ 8381819 w 9002350"/>
                <a:gd name="connsiteY7" fmla="*/ 4580700 h 5241437"/>
                <a:gd name="connsiteX8" fmla="*/ 8380441 w 9002350"/>
                <a:gd name="connsiteY8" fmla="*/ 4580700 h 5241437"/>
                <a:gd name="connsiteX9" fmla="*/ 8371297 w 9002350"/>
                <a:gd name="connsiteY9" fmla="*/ 5241437 h 5241437"/>
                <a:gd name="connsiteX10" fmla="*/ 0 w 9002350"/>
                <a:gd name="connsiteY10" fmla="*/ 5241437 h 5241437"/>
                <a:gd name="connsiteX11" fmla="*/ 0 w 9002350"/>
                <a:gd name="connsiteY11" fmla="*/ 2577942 h 5241437"/>
                <a:gd name="connsiteX12" fmla="*/ 6025 w 9002350"/>
                <a:gd name="connsiteY12" fmla="*/ 2577942 h 5241437"/>
                <a:gd name="connsiteX13" fmla="*/ 6025 w 9002350"/>
                <a:gd name="connsiteY13" fmla="*/ 2284484 h 5241437"/>
                <a:gd name="connsiteX14" fmla="*/ 0 w 9002350"/>
                <a:gd name="connsiteY14" fmla="*/ 2284484 h 5241437"/>
                <a:gd name="connsiteX15" fmla="*/ 0 w 9002350"/>
                <a:gd name="connsiteY15" fmla="*/ 0 h 5241437"/>
                <a:gd name="connsiteX0" fmla="*/ 219006 w 8381822"/>
                <a:gd name="connsiteY0" fmla="*/ 2284484 h 5241437"/>
                <a:gd name="connsiteX1" fmla="*/ 219006 w 8381822"/>
                <a:gd name="connsiteY1" fmla="*/ 2577942 h 5241437"/>
                <a:gd name="connsiteX2" fmla="*/ 1833418 w 8381822"/>
                <a:gd name="connsiteY2" fmla="*/ 2577942 h 5241437"/>
                <a:gd name="connsiteX3" fmla="*/ 1833418 w 8381822"/>
                <a:gd name="connsiteY3" fmla="*/ 2284484 h 5241437"/>
                <a:gd name="connsiteX4" fmla="*/ 219006 w 8381822"/>
                <a:gd name="connsiteY4" fmla="*/ 2284484 h 5241437"/>
                <a:gd name="connsiteX5" fmla="*/ 0 w 8381822"/>
                <a:gd name="connsiteY5" fmla="*/ 0 h 5241437"/>
                <a:gd name="connsiteX6" fmla="*/ 8381311 w 8381822"/>
                <a:gd name="connsiteY6" fmla="*/ 0 h 5241437"/>
                <a:gd name="connsiteX7" fmla="*/ 8381819 w 8381822"/>
                <a:gd name="connsiteY7" fmla="*/ 4580700 h 5241437"/>
                <a:gd name="connsiteX8" fmla="*/ 8380441 w 8381822"/>
                <a:gd name="connsiteY8" fmla="*/ 4580700 h 5241437"/>
                <a:gd name="connsiteX9" fmla="*/ 8371297 w 8381822"/>
                <a:gd name="connsiteY9" fmla="*/ 5241437 h 5241437"/>
                <a:gd name="connsiteX10" fmla="*/ 0 w 8381822"/>
                <a:gd name="connsiteY10" fmla="*/ 5241437 h 5241437"/>
                <a:gd name="connsiteX11" fmla="*/ 0 w 8381822"/>
                <a:gd name="connsiteY11" fmla="*/ 2577942 h 5241437"/>
                <a:gd name="connsiteX12" fmla="*/ 6025 w 8381822"/>
                <a:gd name="connsiteY12" fmla="*/ 2577942 h 5241437"/>
                <a:gd name="connsiteX13" fmla="*/ 6025 w 8381822"/>
                <a:gd name="connsiteY13" fmla="*/ 2284484 h 5241437"/>
                <a:gd name="connsiteX14" fmla="*/ 0 w 8381822"/>
                <a:gd name="connsiteY14" fmla="*/ 2284484 h 5241437"/>
                <a:gd name="connsiteX15" fmla="*/ 0 w 8381822"/>
                <a:gd name="connsiteY15" fmla="*/ 0 h 524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81822" h="5241437">
                  <a:moveTo>
                    <a:pt x="219006" y="2284484"/>
                  </a:moveTo>
                  <a:lnTo>
                    <a:pt x="219006" y="2577942"/>
                  </a:lnTo>
                  <a:lnTo>
                    <a:pt x="1833418" y="2577942"/>
                  </a:lnTo>
                  <a:lnTo>
                    <a:pt x="1833418" y="2284484"/>
                  </a:lnTo>
                  <a:lnTo>
                    <a:pt x="219006" y="2284484"/>
                  </a:lnTo>
                  <a:close/>
                  <a:moveTo>
                    <a:pt x="0" y="0"/>
                  </a:moveTo>
                  <a:lnTo>
                    <a:pt x="8381311" y="0"/>
                  </a:lnTo>
                  <a:cubicBezTo>
                    <a:pt x="8377744" y="2279734"/>
                    <a:pt x="8381964" y="3817250"/>
                    <a:pt x="8381819" y="4580700"/>
                  </a:cubicBezTo>
                  <a:lnTo>
                    <a:pt x="8380441" y="4580700"/>
                  </a:lnTo>
                  <a:lnTo>
                    <a:pt x="8371297" y="5241437"/>
                  </a:lnTo>
                  <a:lnTo>
                    <a:pt x="0" y="5241437"/>
                  </a:lnTo>
                  <a:lnTo>
                    <a:pt x="0" y="2577942"/>
                  </a:lnTo>
                  <a:lnTo>
                    <a:pt x="6025" y="2577942"/>
                  </a:lnTo>
                  <a:lnTo>
                    <a:pt x="6025" y="2284484"/>
                  </a:lnTo>
                  <a:lnTo>
                    <a:pt x="0" y="2284484"/>
                  </a:lnTo>
                  <a:lnTo>
                    <a:pt x="0" y="0"/>
                  </a:lnTo>
                  <a:close/>
                </a:path>
              </a:pathLst>
            </a:custGeom>
            <a:solidFill>
              <a:schemeClr val="tx1">
                <a:lumMod val="85000"/>
                <a:lumOff val="1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yellow highlight">
              <a:extLst>
                <a:ext uri="{FF2B5EF4-FFF2-40B4-BE49-F238E27FC236}">
                  <a16:creationId xmlns:a16="http://schemas.microsoft.com/office/drawing/2014/main" id="{68EED142-419C-2A44-8B5D-71C532D92F5F}"/>
                </a:ext>
              </a:extLst>
            </p:cNvPr>
            <p:cNvSpPr/>
            <p:nvPr/>
          </p:nvSpPr>
          <p:spPr>
            <a:xfrm>
              <a:off x="1979006" y="3702177"/>
              <a:ext cx="1610867" cy="287545"/>
            </a:xfrm>
            <a:prstGeom prst="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7" name="Student sections highlight">
            <a:extLst>
              <a:ext uri="{FF2B5EF4-FFF2-40B4-BE49-F238E27FC236}">
                <a16:creationId xmlns:a16="http://schemas.microsoft.com/office/drawing/2014/main" id="{1B31D62D-1673-824C-8C9B-871262AD1FE5}"/>
              </a:ext>
            </a:extLst>
          </p:cNvPr>
          <p:cNvGrpSpPr/>
          <p:nvPr/>
        </p:nvGrpSpPr>
        <p:grpSpPr>
          <a:xfrm>
            <a:off x="1748258" y="1414155"/>
            <a:ext cx="8396109" cy="5253007"/>
            <a:chOff x="1734551" y="1412034"/>
            <a:chExt cx="8396109" cy="5253007"/>
          </a:xfrm>
        </p:grpSpPr>
        <p:sp>
          <p:nvSpPr>
            <p:cNvPr id="88" name="Freeform 87">
              <a:extLst>
                <a:ext uri="{FF2B5EF4-FFF2-40B4-BE49-F238E27FC236}">
                  <a16:creationId xmlns:a16="http://schemas.microsoft.com/office/drawing/2014/main" id="{EBA82306-1E1B-FD4D-8562-F6ABBC28FAD6}"/>
                </a:ext>
              </a:extLst>
            </p:cNvPr>
            <p:cNvSpPr/>
            <p:nvPr/>
          </p:nvSpPr>
          <p:spPr>
            <a:xfrm>
              <a:off x="1734551" y="1412034"/>
              <a:ext cx="8396109" cy="5253007"/>
            </a:xfrm>
            <a:custGeom>
              <a:avLst/>
              <a:gdLst>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1822961 w 8364512"/>
                <a:gd name="connsiteY4" fmla="*/ 5232290 h 5232292"/>
                <a:gd name="connsiteX5" fmla="*/ 1822961 w 8364512"/>
                <a:gd name="connsiteY5" fmla="*/ 1404013 h 5232292"/>
                <a:gd name="connsiteX6" fmla="*/ 791483 w 8364512"/>
                <a:gd name="connsiteY6" fmla="*/ 1404013 h 5232292"/>
                <a:gd name="connsiteX7" fmla="*/ 791483 w 8364512"/>
                <a:gd name="connsiteY7" fmla="*/ 1404016 h 5232292"/>
                <a:gd name="connsiteX8" fmla="*/ 207370 w 8364512"/>
                <a:gd name="connsiteY8" fmla="*/ 1404016 h 5232292"/>
                <a:gd name="connsiteX9" fmla="*/ 2073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1822961 w 8364512"/>
                <a:gd name="connsiteY4" fmla="*/ 5232290 h 5232292"/>
                <a:gd name="connsiteX5" fmla="*/ 1822961 w 8364512"/>
                <a:gd name="connsiteY5" fmla="*/ 1404013 h 5232292"/>
                <a:gd name="connsiteX6" fmla="*/ 791483 w 8364512"/>
                <a:gd name="connsiteY6" fmla="*/ 1404013 h 5232292"/>
                <a:gd name="connsiteX7" fmla="*/ 791483 w 8364512"/>
                <a:gd name="connsiteY7" fmla="*/ 1404016 h 5232292"/>
                <a:gd name="connsiteX8" fmla="*/ 207370 w 8364512"/>
                <a:gd name="connsiteY8" fmla="*/ 2592736 h 5232292"/>
                <a:gd name="connsiteX9" fmla="*/ 2073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 name="connsiteX15" fmla="*/ 211080 w 8364512"/>
                <a:gd name="connsiteY15" fmla="*/ 0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1822961 w 8364512"/>
                <a:gd name="connsiteY4" fmla="*/ 5232290 h 5232292"/>
                <a:gd name="connsiteX5" fmla="*/ 1822961 w 8364512"/>
                <a:gd name="connsiteY5" fmla="*/ 1404013 h 5232292"/>
                <a:gd name="connsiteX6" fmla="*/ 791483 w 8364512"/>
                <a:gd name="connsiteY6" fmla="*/ 1404013 h 5232292"/>
                <a:gd name="connsiteX7" fmla="*/ 811803 w 8364512"/>
                <a:gd name="connsiteY7" fmla="*/ 2572416 h 5232292"/>
                <a:gd name="connsiteX8" fmla="*/ 207370 w 8364512"/>
                <a:gd name="connsiteY8" fmla="*/ 2592736 h 5232292"/>
                <a:gd name="connsiteX9" fmla="*/ 2073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 name="connsiteX15" fmla="*/ 211080 w 8364512"/>
                <a:gd name="connsiteY15" fmla="*/ 0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1822961 w 8364512"/>
                <a:gd name="connsiteY4" fmla="*/ 5232290 h 5232292"/>
                <a:gd name="connsiteX5" fmla="*/ 1812801 w 8364512"/>
                <a:gd name="connsiteY5" fmla="*/ 2582573 h 5232292"/>
                <a:gd name="connsiteX6" fmla="*/ 791483 w 8364512"/>
                <a:gd name="connsiteY6" fmla="*/ 1404013 h 5232292"/>
                <a:gd name="connsiteX7" fmla="*/ 811803 w 8364512"/>
                <a:gd name="connsiteY7" fmla="*/ 2572416 h 5232292"/>
                <a:gd name="connsiteX8" fmla="*/ 207370 w 8364512"/>
                <a:gd name="connsiteY8" fmla="*/ 2592736 h 5232292"/>
                <a:gd name="connsiteX9" fmla="*/ 2073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 name="connsiteX15" fmla="*/ 211080 w 8364512"/>
                <a:gd name="connsiteY15" fmla="*/ 0 h 5232292"/>
                <a:gd name="connsiteX0" fmla="*/ 211080 w 8364512"/>
                <a:gd name="connsiteY0" fmla="*/ 0 h 5232292"/>
                <a:gd name="connsiteX1" fmla="*/ 8364512 w 8364512"/>
                <a:gd name="connsiteY1" fmla="*/ 0 h 5232292"/>
                <a:gd name="connsiteX2" fmla="*/ 8364512 w 8364512"/>
                <a:gd name="connsiteY2" fmla="*/ 1404013 h 5232292"/>
                <a:gd name="connsiteX3" fmla="*/ 8364512 w 8364512"/>
                <a:gd name="connsiteY3" fmla="*/ 5232290 h 5232292"/>
                <a:gd name="connsiteX4" fmla="*/ 1822961 w 8364512"/>
                <a:gd name="connsiteY4" fmla="*/ 5232290 h 5232292"/>
                <a:gd name="connsiteX5" fmla="*/ 1812801 w 8364512"/>
                <a:gd name="connsiteY5" fmla="*/ 2582573 h 5232292"/>
                <a:gd name="connsiteX6" fmla="*/ 842283 w 8364512"/>
                <a:gd name="connsiteY6" fmla="*/ 2572413 h 5232292"/>
                <a:gd name="connsiteX7" fmla="*/ 811803 w 8364512"/>
                <a:gd name="connsiteY7" fmla="*/ 2572416 h 5232292"/>
                <a:gd name="connsiteX8" fmla="*/ 207370 w 8364512"/>
                <a:gd name="connsiteY8" fmla="*/ 2592736 h 5232292"/>
                <a:gd name="connsiteX9" fmla="*/ 207370 w 8364512"/>
                <a:gd name="connsiteY9" fmla="*/ 5232292 h 5232292"/>
                <a:gd name="connsiteX10" fmla="*/ 0 w 8364512"/>
                <a:gd name="connsiteY10" fmla="*/ 5232292 h 5232292"/>
                <a:gd name="connsiteX11" fmla="*/ 0 w 8364512"/>
                <a:gd name="connsiteY11" fmla="*/ 1 h 5232292"/>
                <a:gd name="connsiteX12" fmla="*/ 207370 w 8364512"/>
                <a:gd name="connsiteY12" fmla="*/ 1 h 5232292"/>
                <a:gd name="connsiteX13" fmla="*/ 207370 w 8364512"/>
                <a:gd name="connsiteY13" fmla="*/ 2 h 5232292"/>
                <a:gd name="connsiteX14" fmla="*/ 211080 w 8364512"/>
                <a:gd name="connsiteY14" fmla="*/ 2 h 5232292"/>
                <a:gd name="connsiteX15" fmla="*/ 211080 w 8364512"/>
                <a:gd name="connsiteY15" fmla="*/ 0 h 5232292"/>
                <a:gd name="connsiteX0" fmla="*/ 220224 w 8373656"/>
                <a:gd name="connsiteY0" fmla="*/ 0 h 5232292"/>
                <a:gd name="connsiteX1" fmla="*/ 8373656 w 8373656"/>
                <a:gd name="connsiteY1" fmla="*/ 0 h 5232292"/>
                <a:gd name="connsiteX2" fmla="*/ 8373656 w 8373656"/>
                <a:gd name="connsiteY2" fmla="*/ 1404013 h 5232292"/>
                <a:gd name="connsiteX3" fmla="*/ 8373656 w 8373656"/>
                <a:gd name="connsiteY3" fmla="*/ 5232290 h 5232292"/>
                <a:gd name="connsiteX4" fmla="*/ 1832105 w 8373656"/>
                <a:gd name="connsiteY4" fmla="*/ 5232290 h 5232292"/>
                <a:gd name="connsiteX5" fmla="*/ 1821945 w 8373656"/>
                <a:gd name="connsiteY5" fmla="*/ 2582573 h 5232292"/>
                <a:gd name="connsiteX6" fmla="*/ 851427 w 8373656"/>
                <a:gd name="connsiteY6" fmla="*/ 2572413 h 5232292"/>
                <a:gd name="connsiteX7" fmla="*/ 820947 w 8373656"/>
                <a:gd name="connsiteY7" fmla="*/ 2572416 h 5232292"/>
                <a:gd name="connsiteX8" fmla="*/ 216514 w 8373656"/>
                <a:gd name="connsiteY8" fmla="*/ 2592736 h 5232292"/>
                <a:gd name="connsiteX9" fmla="*/ 216514 w 8373656"/>
                <a:gd name="connsiteY9" fmla="*/ 5232292 h 5232292"/>
                <a:gd name="connsiteX10" fmla="*/ 9144 w 8373656"/>
                <a:gd name="connsiteY10" fmla="*/ 5232292 h 5232292"/>
                <a:gd name="connsiteX11" fmla="*/ 0 w 8373656"/>
                <a:gd name="connsiteY11" fmla="*/ 9145 h 5232292"/>
                <a:gd name="connsiteX12" fmla="*/ 216514 w 8373656"/>
                <a:gd name="connsiteY12" fmla="*/ 1 h 5232292"/>
                <a:gd name="connsiteX13" fmla="*/ 216514 w 8373656"/>
                <a:gd name="connsiteY13" fmla="*/ 2 h 5232292"/>
                <a:gd name="connsiteX14" fmla="*/ 220224 w 8373656"/>
                <a:gd name="connsiteY14" fmla="*/ 2 h 5232292"/>
                <a:gd name="connsiteX15" fmla="*/ 220224 w 8373656"/>
                <a:gd name="connsiteY15" fmla="*/ 0 h 5232292"/>
                <a:gd name="connsiteX0" fmla="*/ 221907 w 8375339"/>
                <a:gd name="connsiteY0" fmla="*/ 0 h 5232292"/>
                <a:gd name="connsiteX1" fmla="*/ 8375339 w 8375339"/>
                <a:gd name="connsiteY1" fmla="*/ 0 h 5232292"/>
                <a:gd name="connsiteX2" fmla="*/ 8375339 w 8375339"/>
                <a:gd name="connsiteY2" fmla="*/ 1404013 h 5232292"/>
                <a:gd name="connsiteX3" fmla="*/ 8375339 w 8375339"/>
                <a:gd name="connsiteY3" fmla="*/ 5232290 h 5232292"/>
                <a:gd name="connsiteX4" fmla="*/ 1833788 w 8375339"/>
                <a:gd name="connsiteY4" fmla="*/ 5232290 h 5232292"/>
                <a:gd name="connsiteX5" fmla="*/ 1823628 w 8375339"/>
                <a:gd name="connsiteY5" fmla="*/ 2582573 h 5232292"/>
                <a:gd name="connsiteX6" fmla="*/ 853110 w 8375339"/>
                <a:gd name="connsiteY6" fmla="*/ 2572413 h 5232292"/>
                <a:gd name="connsiteX7" fmla="*/ 822630 w 8375339"/>
                <a:gd name="connsiteY7" fmla="*/ 2572416 h 5232292"/>
                <a:gd name="connsiteX8" fmla="*/ 218197 w 8375339"/>
                <a:gd name="connsiteY8" fmla="*/ 2592736 h 5232292"/>
                <a:gd name="connsiteX9" fmla="*/ 218197 w 8375339"/>
                <a:gd name="connsiteY9" fmla="*/ 5232292 h 5232292"/>
                <a:gd name="connsiteX10" fmla="*/ 10827 w 8375339"/>
                <a:gd name="connsiteY10" fmla="*/ 5232292 h 5232292"/>
                <a:gd name="connsiteX11" fmla="*/ 1683 w 8375339"/>
                <a:gd name="connsiteY11" fmla="*/ 9145 h 5232292"/>
                <a:gd name="connsiteX12" fmla="*/ 218197 w 8375339"/>
                <a:gd name="connsiteY12" fmla="*/ 1 h 5232292"/>
                <a:gd name="connsiteX13" fmla="*/ 218197 w 8375339"/>
                <a:gd name="connsiteY13" fmla="*/ 2 h 5232292"/>
                <a:gd name="connsiteX14" fmla="*/ 221907 w 8375339"/>
                <a:gd name="connsiteY14" fmla="*/ 2 h 5232292"/>
                <a:gd name="connsiteX15" fmla="*/ 221907 w 8375339"/>
                <a:gd name="connsiteY15" fmla="*/ 0 h 5232292"/>
                <a:gd name="connsiteX0" fmla="*/ 223743 w 8377175"/>
                <a:gd name="connsiteY0" fmla="*/ 0 h 5232292"/>
                <a:gd name="connsiteX1" fmla="*/ 8377175 w 8377175"/>
                <a:gd name="connsiteY1" fmla="*/ 0 h 5232292"/>
                <a:gd name="connsiteX2" fmla="*/ 8377175 w 8377175"/>
                <a:gd name="connsiteY2" fmla="*/ 1404013 h 5232292"/>
                <a:gd name="connsiteX3" fmla="*/ 8377175 w 8377175"/>
                <a:gd name="connsiteY3" fmla="*/ 5232290 h 5232292"/>
                <a:gd name="connsiteX4" fmla="*/ 1835624 w 8377175"/>
                <a:gd name="connsiteY4" fmla="*/ 5232290 h 5232292"/>
                <a:gd name="connsiteX5" fmla="*/ 1825464 w 8377175"/>
                <a:gd name="connsiteY5" fmla="*/ 2582573 h 5232292"/>
                <a:gd name="connsiteX6" fmla="*/ 854946 w 8377175"/>
                <a:gd name="connsiteY6" fmla="*/ 2572413 h 5232292"/>
                <a:gd name="connsiteX7" fmla="*/ 824466 w 8377175"/>
                <a:gd name="connsiteY7" fmla="*/ 2572416 h 5232292"/>
                <a:gd name="connsiteX8" fmla="*/ 220033 w 8377175"/>
                <a:gd name="connsiteY8" fmla="*/ 2592736 h 5232292"/>
                <a:gd name="connsiteX9" fmla="*/ 220033 w 8377175"/>
                <a:gd name="connsiteY9" fmla="*/ 5232292 h 5232292"/>
                <a:gd name="connsiteX10" fmla="*/ 3519 w 8377175"/>
                <a:gd name="connsiteY10" fmla="*/ 5232292 h 5232292"/>
                <a:gd name="connsiteX11" fmla="*/ 3519 w 8377175"/>
                <a:gd name="connsiteY11" fmla="*/ 9145 h 5232292"/>
                <a:gd name="connsiteX12" fmla="*/ 220033 w 8377175"/>
                <a:gd name="connsiteY12" fmla="*/ 1 h 5232292"/>
                <a:gd name="connsiteX13" fmla="*/ 220033 w 8377175"/>
                <a:gd name="connsiteY13" fmla="*/ 2 h 5232292"/>
                <a:gd name="connsiteX14" fmla="*/ 223743 w 8377175"/>
                <a:gd name="connsiteY14" fmla="*/ 2 h 5232292"/>
                <a:gd name="connsiteX15" fmla="*/ 223743 w 8377175"/>
                <a:gd name="connsiteY15" fmla="*/ 0 h 5232292"/>
                <a:gd name="connsiteX0" fmla="*/ 231051 w 8384483"/>
                <a:gd name="connsiteY0" fmla="*/ 0 h 5232292"/>
                <a:gd name="connsiteX1" fmla="*/ 8384483 w 8384483"/>
                <a:gd name="connsiteY1" fmla="*/ 0 h 5232292"/>
                <a:gd name="connsiteX2" fmla="*/ 8384483 w 8384483"/>
                <a:gd name="connsiteY2" fmla="*/ 1404013 h 5232292"/>
                <a:gd name="connsiteX3" fmla="*/ 8384483 w 8384483"/>
                <a:gd name="connsiteY3" fmla="*/ 5232290 h 5232292"/>
                <a:gd name="connsiteX4" fmla="*/ 1842932 w 8384483"/>
                <a:gd name="connsiteY4" fmla="*/ 5232290 h 5232292"/>
                <a:gd name="connsiteX5" fmla="*/ 1832772 w 8384483"/>
                <a:gd name="connsiteY5" fmla="*/ 2582573 h 5232292"/>
                <a:gd name="connsiteX6" fmla="*/ 862254 w 8384483"/>
                <a:gd name="connsiteY6" fmla="*/ 2572413 h 5232292"/>
                <a:gd name="connsiteX7" fmla="*/ 831774 w 8384483"/>
                <a:gd name="connsiteY7" fmla="*/ 2572416 h 5232292"/>
                <a:gd name="connsiteX8" fmla="*/ 227341 w 8384483"/>
                <a:gd name="connsiteY8" fmla="*/ 2592736 h 5232292"/>
                <a:gd name="connsiteX9" fmla="*/ 227341 w 8384483"/>
                <a:gd name="connsiteY9" fmla="*/ 5232292 h 5232292"/>
                <a:gd name="connsiteX10" fmla="*/ 10827 w 8384483"/>
                <a:gd name="connsiteY10" fmla="*/ 5232292 h 5232292"/>
                <a:gd name="connsiteX11" fmla="*/ 1683 w 8384483"/>
                <a:gd name="connsiteY11" fmla="*/ 1 h 5232292"/>
                <a:gd name="connsiteX12" fmla="*/ 227341 w 8384483"/>
                <a:gd name="connsiteY12" fmla="*/ 1 h 5232292"/>
                <a:gd name="connsiteX13" fmla="*/ 227341 w 8384483"/>
                <a:gd name="connsiteY13" fmla="*/ 2 h 5232292"/>
                <a:gd name="connsiteX14" fmla="*/ 231051 w 8384483"/>
                <a:gd name="connsiteY14" fmla="*/ 2 h 5232292"/>
                <a:gd name="connsiteX15" fmla="*/ 231051 w 8384483"/>
                <a:gd name="connsiteY15" fmla="*/ 0 h 5232292"/>
                <a:gd name="connsiteX0" fmla="*/ 231051 w 8384483"/>
                <a:gd name="connsiteY0" fmla="*/ 0 h 5232292"/>
                <a:gd name="connsiteX1" fmla="*/ 8384483 w 8384483"/>
                <a:gd name="connsiteY1" fmla="*/ 0 h 5232292"/>
                <a:gd name="connsiteX2" fmla="*/ 8384483 w 8384483"/>
                <a:gd name="connsiteY2" fmla="*/ 1404013 h 5232292"/>
                <a:gd name="connsiteX3" fmla="*/ 8384483 w 8384483"/>
                <a:gd name="connsiteY3" fmla="*/ 5232290 h 5232292"/>
                <a:gd name="connsiteX4" fmla="*/ 1842932 w 8384483"/>
                <a:gd name="connsiteY4" fmla="*/ 5232290 h 5232292"/>
                <a:gd name="connsiteX5" fmla="*/ 1832772 w 8384483"/>
                <a:gd name="connsiteY5" fmla="*/ 2582573 h 5232292"/>
                <a:gd name="connsiteX6" fmla="*/ 862254 w 8384483"/>
                <a:gd name="connsiteY6" fmla="*/ 2572413 h 5232292"/>
                <a:gd name="connsiteX7" fmla="*/ 831774 w 8384483"/>
                <a:gd name="connsiteY7" fmla="*/ 2572416 h 5232292"/>
                <a:gd name="connsiteX8" fmla="*/ 227341 w 8384483"/>
                <a:gd name="connsiteY8" fmla="*/ 2592736 h 5232292"/>
                <a:gd name="connsiteX9" fmla="*/ 227341 w 8384483"/>
                <a:gd name="connsiteY9" fmla="*/ 5232292 h 5232292"/>
                <a:gd name="connsiteX10" fmla="*/ 10827 w 8384483"/>
                <a:gd name="connsiteY10" fmla="*/ 5232292 h 5232292"/>
                <a:gd name="connsiteX11" fmla="*/ 1683 w 8384483"/>
                <a:gd name="connsiteY11" fmla="*/ 1 h 5232292"/>
                <a:gd name="connsiteX12" fmla="*/ 227341 w 8384483"/>
                <a:gd name="connsiteY12" fmla="*/ 1 h 5232292"/>
                <a:gd name="connsiteX13" fmla="*/ 227341 w 8384483"/>
                <a:gd name="connsiteY13" fmla="*/ 2 h 5232292"/>
                <a:gd name="connsiteX14" fmla="*/ 231051 w 8384483"/>
                <a:gd name="connsiteY14" fmla="*/ 2 h 5232292"/>
                <a:gd name="connsiteX15" fmla="*/ 231051 w 8384483"/>
                <a:gd name="connsiteY15" fmla="*/ 0 h 5232292"/>
                <a:gd name="connsiteX0" fmla="*/ 231051 w 8384483"/>
                <a:gd name="connsiteY0" fmla="*/ 0 h 5241434"/>
                <a:gd name="connsiteX1" fmla="*/ 8384483 w 8384483"/>
                <a:gd name="connsiteY1" fmla="*/ 0 h 5241434"/>
                <a:gd name="connsiteX2" fmla="*/ 8384483 w 8384483"/>
                <a:gd name="connsiteY2" fmla="*/ 1404013 h 5241434"/>
                <a:gd name="connsiteX3" fmla="*/ 8366195 w 8384483"/>
                <a:gd name="connsiteY3" fmla="*/ 5241434 h 5241434"/>
                <a:gd name="connsiteX4" fmla="*/ 1842932 w 8384483"/>
                <a:gd name="connsiteY4" fmla="*/ 5232290 h 5241434"/>
                <a:gd name="connsiteX5" fmla="*/ 1832772 w 8384483"/>
                <a:gd name="connsiteY5" fmla="*/ 2582573 h 5241434"/>
                <a:gd name="connsiteX6" fmla="*/ 862254 w 8384483"/>
                <a:gd name="connsiteY6" fmla="*/ 2572413 h 5241434"/>
                <a:gd name="connsiteX7" fmla="*/ 831774 w 8384483"/>
                <a:gd name="connsiteY7" fmla="*/ 2572416 h 5241434"/>
                <a:gd name="connsiteX8" fmla="*/ 227341 w 8384483"/>
                <a:gd name="connsiteY8" fmla="*/ 2592736 h 5241434"/>
                <a:gd name="connsiteX9" fmla="*/ 227341 w 8384483"/>
                <a:gd name="connsiteY9" fmla="*/ 5232292 h 5241434"/>
                <a:gd name="connsiteX10" fmla="*/ 10827 w 8384483"/>
                <a:gd name="connsiteY10" fmla="*/ 5232292 h 5241434"/>
                <a:gd name="connsiteX11" fmla="*/ 1683 w 8384483"/>
                <a:gd name="connsiteY11" fmla="*/ 1 h 5241434"/>
                <a:gd name="connsiteX12" fmla="*/ 227341 w 8384483"/>
                <a:gd name="connsiteY12" fmla="*/ 1 h 5241434"/>
                <a:gd name="connsiteX13" fmla="*/ 227341 w 8384483"/>
                <a:gd name="connsiteY13" fmla="*/ 2 h 5241434"/>
                <a:gd name="connsiteX14" fmla="*/ 231051 w 8384483"/>
                <a:gd name="connsiteY14" fmla="*/ 2 h 5241434"/>
                <a:gd name="connsiteX15" fmla="*/ 231051 w 8384483"/>
                <a:gd name="connsiteY15" fmla="*/ 0 h 5241434"/>
                <a:gd name="connsiteX0" fmla="*/ 231051 w 8384483"/>
                <a:gd name="connsiteY0" fmla="*/ 0 h 5241434"/>
                <a:gd name="connsiteX1" fmla="*/ 8384483 w 8384483"/>
                <a:gd name="connsiteY1" fmla="*/ 0 h 5241434"/>
                <a:gd name="connsiteX2" fmla="*/ 8384483 w 8384483"/>
                <a:gd name="connsiteY2" fmla="*/ 1404013 h 5241434"/>
                <a:gd name="connsiteX3" fmla="*/ 8366195 w 8384483"/>
                <a:gd name="connsiteY3" fmla="*/ 5241434 h 5241434"/>
                <a:gd name="connsiteX4" fmla="*/ 1842932 w 8384483"/>
                <a:gd name="connsiteY4" fmla="*/ 5232290 h 5241434"/>
                <a:gd name="connsiteX5" fmla="*/ 1832772 w 8384483"/>
                <a:gd name="connsiteY5" fmla="*/ 2582573 h 5241434"/>
                <a:gd name="connsiteX6" fmla="*/ 862254 w 8384483"/>
                <a:gd name="connsiteY6" fmla="*/ 2572413 h 5241434"/>
                <a:gd name="connsiteX7" fmla="*/ 831774 w 8384483"/>
                <a:gd name="connsiteY7" fmla="*/ 2572416 h 5241434"/>
                <a:gd name="connsiteX8" fmla="*/ 227341 w 8384483"/>
                <a:gd name="connsiteY8" fmla="*/ 2592736 h 5241434"/>
                <a:gd name="connsiteX9" fmla="*/ 227341 w 8384483"/>
                <a:gd name="connsiteY9" fmla="*/ 5232292 h 5241434"/>
                <a:gd name="connsiteX10" fmla="*/ 10827 w 8384483"/>
                <a:gd name="connsiteY10" fmla="*/ 5232292 h 5241434"/>
                <a:gd name="connsiteX11" fmla="*/ 1683 w 8384483"/>
                <a:gd name="connsiteY11" fmla="*/ 1 h 5241434"/>
                <a:gd name="connsiteX12" fmla="*/ 227341 w 8384483"/>
                <a:gd name="connsiteY12" fmla="*/ 1 h 5241434"/>
                <a:gd name="connsiteX13" fmla="*/ 227341 w 8384483"/>
                <a:gd name="connsiteY13" fmla="*/ 2 h 5241434"/>
                <a:gd name="connsiteX14" fmla="*/ 231051 w 8384483"/>
                <a:gd name="connsiteY14" fmla="*/ 2 h 5241434"/>
                <a:gd name="connsiteX15" fmla="*/ 231051 w 8384483"/>
                <a:gd name="connsiteY15" fmla="*/ 0 h 5241434"/>
                <a:gd name="connsiteX0" fmla="*/ 231051 w 8384483"/>
                <a:gd name="connsiteY0" fmla="*/ 0 h 5241434"/>
                <a:gd name="connsiteX1" fmla="*/ 8384483 w 8384483"/>
                <a:gd name="connsiteY1" fmla="*/ 0 h 5241434"/>
                <a:gd name="connsiteX2" fmla="*/ 8375339 w 8384483"/>
                <a:gd name="connsiteY2" fmla="*/ 1413157 h 5241434"/>
                <a:gd name="connsiteX3" fmla="*/ 8366195 w 8384483"/>
                <a:gd name="connsiteY3" fmla="*/ 5241434 h 5241434"/>
                <a:gd name="connsiteX4" fmla="*/ 1842932 w 8384483"/>
                <a:gd name="connsiteY4" fmla="*/ 5232290 h 5241434"/>
                <a:gd name="connsiteX5" fmla="*/ 1832772 w 8384483"/>
                <a:gd name="connsiteY5" fmla="*/ 2582573 h 5241434"/>
                <a:gd name="connsiteX6" fmla="*/ 862254 w 8384483"/>
                <a:gd name="connsiteY6" fmla="*/ 2572413 h 5241434"/>
                <a:gd name="connsiteX7" fmla="*/ 831774 w 8384483"/>
                <a:gd name="connsiteY7" fmla="*/ 2572416 h 5241434"/>
                <a:gd name="connsiteX8" fmla="*/ 227341 w 8384483"/>
                <a:gd name="connsiteY8" fmla="*/ 2592736 h 5241434"/>
                <a:gd name="connsiteX9" fmla="*/ 227341 w 8384483"/>
                <a:gd name="connsiteY9" fmla="*/ 5232292 h 5241434"/>
                <a:gd name="connsiteX10" fmla="*/ 10827 w 8384483"/>
                <a:gd name="connsiteY10" fmla="*/ 5232292 h 5241434"/>
                <a:gd name="connsiteX11" fmla="*/ 1683 w 8384483"/>
                <a:gd name="connsiteY11" fmla="*/ 1 h 5241434"/>
                <a:gd name="connsiteX12" fmla="*/ 227341 w 8384483"/>
                <a:gd name="connsiteY12" fmla="*/ 1 h 5241434"/>
                <a:gd name="connsiteX13" fmla="*/ 227341 w 8384483"/>
                <a:gd name="connsiteY13" fmla="*/ 2 h 5241434"/>
                <a:gd name="connsiteX14" fmla="*/ 231051 w 8384483"/>
                <a:gd name="connsiteY14" fmla="*/ 2 h 5241434"/>
                <a:gd name="connsiteX15" fmla="*/ 231051 w 8384483"/>
                <a:gd name="connsiteY15" fmla="*/ 0 h 5241434"/>
                <a:gd name="connsiteX0" fmla="*/ 231051 w 8384483"/>
                <a:gd name="connsiteY0" fmla="*/ 0 h 5241434"/>
                <a:gd name="connsiteX1" fmla="*/ 8384483 w 8384483"/>
                <a:gd name="connsiteY1" fmla="*/ 0 h 5241434"/>
                <a:gd name="connsiteX2" fmla="*/ 8375339 w 8384483"/>
                <a:gd name="connsiteY2" fmla="*/ 1413157 h 5241434"/>
                <a:gd name="connsiteX3" fmla="*/ 8366195 w 8384483"/>
                <a:gd name="connsiteY3" fmla="*/ 5241434 h 5241434"/>
                <a:gd name="connsiteX4" fmla="*/ 1842932 w 8384483"/>
                <a:gd name="connsiteY4" fmla="*/ 5232290 h 5241434"/>
                <a:gd name="connsiteX5" fmla="*/ 1832772 w 8384483"/>
                <a:gd name="connsiteY5" fmla="*/ 2582573 h 5241434"/>
                <a:gd name="connsiteX6" fmla="*/ 862254 w 8384483"/>
                <a:gd name="connsiteY6" fmla="*/ 2572413 h 5241434"/>
                <a:gd name="connsiteX7" fmla="*/ 831774 w 8384483"/>
                <a:gd name="connsiteY7" fmla="*/ 2572416 h 5241434"/>
                <a:gd name="connsiteX8" fmla="*/ 227341 w 8384483"/>
                <a:gd name="connsiteY8" fmla="*/ 2592736 h 5241434"/>
                <a:gd name="connsiteX9" fmla="*/ 227341 w 8384483"/>
                <a:gd name="connsiteY9" fmla="*/ 5232292 h 5241434"/>
                <a:gd name="connsiteX10" fmla="*/ 10827 w 8384483"/>
                <a:gd name="connsiteY10" fmla="*/ 5232292 h 5241434"/>
                <a:gd name="connsiteX11" fmla="*/ 1683 w 8384483"/>
                <a:gd name="connsiteY11" fmla="*/ 1 h 5241434"/>
                <a:gd name="connsiteX12" fmla="*/ 227341 w 8384483"/>
                <a:gd name="connsiteY12" fmla="*/ 1 h 5241434"/>
                <a:gd name="connsiteX13" fmla="*/ 227341 w 8384483"/>
                <a:gd name="connsiteY13" fmla="*/ 2 h 5241434"/>
                <a:gd name="connsiteX14" fmla="*/ 231051 w 8384483"/>
                <a:gd name="connsiteY14" fmla="*/ 2 h 5241434"/>
                <a:gd name="connsiteX15" fmla="*/ 231051 w 8384483"/>
                <a:gd name="connsiteY15" fmla="*/ 0 h 5241434"/>
                <a:gd name="connsiteX0" fmla="*/ 231051 w 8376218"/>
                <a:gd name="connsiteY0" fmla="*/ 9144 h 5250578"/>
                <a:gd name="connsiteX1" fmla="*/ 8375339 w 8376218"/>
                <a:gd name="connsiteY1" fmla="*/ 0 h 5250578"/>
                <a:gd name="connsiteX2" fmla="*/ 8375339 w 8376218"/>
                <a:gd name="connsiteY2" fmla="*/ 1422301 h 5250578"/>
                <a:gd name="connsiteX3" fmla="*/ 8366195 w 8376218"/>
                <a:gd name="connsiteY3" fmla="*/ 5250578 h 5250578"/>
                <a:gd name="connsiteX4" fmla="*/ 1842932 w 8376218"/>
                <a:gd name="connsiteY4" fmla="*/ 5241434 h 5250578"/>
                <a:gd name="connsiteX5" fmla="*/ 1832772 w 8376218"/>
                <a:gd name="connsiteY5" fmla="*/ 2591717 h 5250578"/>
                <a:gd name="connsiteX6" fmla="*/ 862254 w 8376218"/>
                <a:gd name="connsiteY6" fmla="*/ 2581557 h 5250578"/>
                <a:gd name="connsiteX7" fmla="*/ 831774 w 8376218"/>
                <a:gd name="connsiteY7" fmla="*/ 2581560 h 5250578"/>
                <a:gd name="connsiteX8" fmla="*/ 227341 w 8376218"/>
                <a:gd name="connsiteY8" fmla="*/ 2601880 h 5250578"/>
                <a:gd name="connsiteX9" fmla="*/ 227341 w 8376218"/>
                <a:gd name="connsiteY9" fmla="*/ 5241436 h 5250578"/>
                <a:gd name="connsiteX10" fmla="*/ 10827 w 8376218"/>
                <a:gd name="connsiteY10" fmla="*/ 5241436 h 5250578"/>
                <a:gd name="connsiteX11" fmla="*/ 1683 w 8376218"/>
                <a:gd name="connsiteY11" fmla="*/ 9145 h 5250578"/>
                <a:gd name="connsiteX12" fmla="*/ 227341 w 8376218"/>
                <a:gd name="connsiteY12" fmla="*/ 9145 h 5250578"/>
                <a:gd name="connsiteX13" fmla="*/ 227341 w 8376218"/>
                <a:gd name="connsiteY13" fmla="*/ 9146 h 5250578"/>
                <a:gd name="connsiteX14" fmla="*/ 231051 w 8376218"/>
                <a:gd name="connsiteY14" fmla="*/ 9146 h 5250578"/>
                <a:gd name="connsiteX15" fmla="*/ 231051 w 8376218"/>
                <a:gd name="connsiteY15" fmla="*/ 9144 h 5250578"/>
                <a:gd name="connsiteX0" fmla="*/ 231051 w 8376218"/>
                <a:gd name="connsiteY0" fmla="*/ 9144 h 5250578"/>
                <a:gd name="connsiteX1" fmla="*/ 8375339 w 8376218"/>
                <a:gd name="connsiteY1" fmla="*/ 0 h 5250578"/>
                <a:gd name="connsiteX2" fmla="*/ 8375339 w 8376218"/>
                <a:gd name="connsiteY2" fmla="*/ 1422301 h 5250578"/>
                <a:gd name="connsiteX3" fmla="*/ 8366195 w 8376218"/>
                <a:gd name="connsiteY3" fmla="*/ 5250578 h 5250578"/>
                <a:gd name="connsiteX4" fmla="*/ 1842932 w 8376218"/>
                <a:gd name="connsiteY4" fmla="*/ 5241434 h 5250578"/>
                <a:gd name="connsiteX5" fmla="*/ 1832772 w 8376218"/>
                <a:gd name="connsiteY5" fmla="*/ 2591717 h 5250578"/>
                <a:gd name="connsiteX6" fmla="*/ 862254 w 8376218"/>
                <a:gd name="connsiteY6" fmla="*/ 2581557 h 5250578"/>
                <a:gd name="connsiteX7" fmla="*/ 831774 w 8376218"/>
                <a:gd name="connsiteY7" fmla="*/ 2581560 h 5250578"/>
                <a:gd name="connsiteX8" fmla="*/ 227341 w 8376218"/>
                <a:gd name="connsiteY8" fmla="*/ 2601880 h 5250578"/>
                <a:gd name="connsiteX9" fmla="*/ 227341 w 8376218"/>
                <a:gd name="connsiteY9" fmla="*/ 5241436 h 5250578"/>
                <a:gd name="connsiteX10" fmla="*/ 10827 w 8376218"/>
                <a:gd name="connsiteY10" fmla="*/ 5241436 h 5250578"/>
                <a:gd name="connsiteX11" fmla="*/ 1683 w 8376218"/>
                <a:gd name="connsiteY11" fmla="*/ 9145 h 5250578"/>
                <a:gd name="connsiteX12" fmla="*/ 227341 w 8376218"/>
                <a:gd name="connsiteY12" fmla="*/ 9145 h 5250578"/>
                <a:gd name="connsiteX13" fmla="*/ 227341 w 8376218"/>
                <a:gd name="connsiteY13" fmla="*/ 9146 h 5250578"/>
                <a:gd name="connsiteX14" fmla="*/ 231051 w 8376218"/>
                <a:gd name="connsiteY14" fmla="*/ 9146 h 5250578"/>
                <a:gd name="connsiteX15" fmla="*/ 231051 w 8376218"/>
                <a:gd name="connsiteY15" fmla="*/ 9144 h 5250578"/>
                <a:gd name="connsiteX0" fmla="*/ 231051 w 9290592"/>
                <a:gd name="connsiteY0" fmla="*/ 9144 h 5250578"/>
                <a:gd name="connsiteX1" fmla="*/ 8375339 w 9290592"/>
                <a:gd name="connsiteY1" fmla="*/ 0 h 5250578"/>
                <a:gd name="connsiteX2" fmla="*/ 8366195 w 9290592"/>
                <a:gd name="connsiteY2" fmla="*/ 5250578 h 5250578"/>
                <a:gd name="connsiteX3" fmla="*/ 1842932 w 9290592"/>
                <a:gd name="connsiteY3" fmla="*/ 5241434 h 5250578"/>
                <a:gd name="connsiteX4" fmla="*/ 1832772 w 9290592"/>
                <a:gd name="connsiteY4" fmla="*/ 2591717 h 5250578"/>
                <a:gd name="connsiteX5" fmla="*/ 862254 w 9290592"/>
                <a:gd name="connsiteY5" fmla="*/ 2581557 h 5250578"/>
                <a:gd name="connsiteX6" fmla="*/ 831774 w 9290592"/>
                <a:gd name="connsiteY6" fmla="*/ 2581560 h 5250578"/>
                <a:gd name="connsiteX7" fmla="*/ 227341 w 9290592"/>
                <a:gd name="connsiteY7" fmla="*/ 2601880 h 5250578"/>
                <a:gd name="connsiteX8" fmla="*/ 227341 w 9290592"/>
                <a:gd name="connsiteY8" fmla="*/ 5241436 h 5250578"/>
                <a:gd name="connsiteX9" fmla="*/ 10827 w 9290592"/>
                <a:gd name="connsiteY9" fmla="*/ 5241436 h 5250578"/>
                <a:gd name="connsiteX10" fmla="*/ 1683 w 9290592"/>
                <a:gd name="connsiteY10" fmla="*/ 9145 h 5250578"/>
                <a:gd name="connsiteX11" fmla="*/ 227341 w 9290592"/>
                <a:gd name="connsiteY11" fmla="*/ 9145 h 5250578"/>
                <a:gd name="connsiteX12" fmla="*/ 227341 w 9290592"/>
                <a:gd name="connsiteY12" fmla="*/ 9146 h 5250578"/>
                <a:gd name="connsiteX13" fmla="*/ 231051 w 9290592"/>
                <a:gd name="connsiteY13" fmla="*/ 9146 h 5250578"/>
                <a:gd name="connsiteX14" fmla="*/ 231051 w 9290592"/>
                <a:gd name="connsiteY14" fmla="*/ 9144 h 5250578"/>
                <a:gd name="connsiteX0" fmla="*/ 231051 w 8852821"/>
                <a:gd name="connsiteY0" fmla="*/ 9144 h 5250578"/>
                <a:gd name="connsiteX1" fmla="*/ 8375339 w 8852821"/>
                <a:gd name="connsiteY1" fmla="*/ 0 h 5250578"/>
                <a:gd name="connsiteX2" fmla="*/ 8366195 w 8852821"/>
                <a:gd name="connsiteY2" fmla="*/ 5250578 h 5250578"/>
                <a:gd name="connsiteX3" fmla="*/ 1842932 w 8852821"/>
                <a:gd name="connsiteY3" fmla="*/ 5241434 h 5250578"/>
                <a:gd name="connsiteX4" fmla="*/ 1832772 w 8852821"/>
                <a:gd name="connsiteY4" fmla="*/ 2591717 h 5250578"/>
                <a:gd name="connsiteX5" fmla="*/ 862254 w 8852821"/>
                <a:gd name="connsiteY5" fmla="*/ 2581557 h 5250578"/>
                <a:gd name="connsiteX6" fmla="*/ 831774 w 8852821"/>
                <a:gd name="connsiteY6" fmla="*/ 2581560 h 5250578"/>
                <a:gd name="connsiteX7" fmla="*/ 227341 w 8852821"/>
                <a:gd name="connsiteY7" fmla="*/ 2601880 h 5250578"/>
                <a:gd name="connsiteX8" fmla="*/ 227341 w 8852821"/>
                <a:gd name="connsiteY8" fmla="*/ 5241436 h 5250578"/>
                <a:gd name="connsiteX9" fmla="*/ 10827 w 8852821"/>
                <a:gd name="connsiteY9" fmla="*/ 5241436 h 5250578"/>
                <a:gd name="connsiteX10" fmla="*/ 1683 w 8852821"/>
                <a:gd name="connsiteY10" fmla="*/ 9145 h 5250578"/>
                <a:gd name="connsiteX11" fmla="*/ 227341 w 8852821"/>
                <a:gd name="connsiteY11" fmla="*/ 9145 h 5250578"/>
                <a:gd name="connsiteX12" fmla="*/ 227341 w 8852821"/>
                <a:gd name="connsiteY12" fmla="*/ 9146 h 5250578"/>
                <a:gd name="connsiteX13" fmla="*/ 231051 w 8852821"/>
                <a:gd name="connsiteY13" fmla="*/ 9146 h 5250578"/>
                <a:gd name="connsiteX14" fmla="*/ 231051 w 8852821"/>
                <a:gd name="connsiteY14" fmla="*/ 9144 h 5250578"/>
                <a:gd name="connsiteX0" fmla="*/ 231051 w 8385201"/>
                <a:gd name="connsiteY0" fmla="*/ 9144 h 5250578"/>
                <a:gd name="connsiteX1" fmla="*/ 8375339 w 8385201"/>
                <a:gd name="connsiteY1" fmla="*/ 0 h 5250578"/>
                <a:gd name="connsiteX2" fmla="*/ 8366195 w 8385201"/>
                <a:gd name="connsiteY2" fmla="*/ 5250578 h 5250578"/>
                <a:gd name="connsiteX3" fmla="*/ 1842932 w 8385201"/>
                <a:gd name="connsiteY3" fmla="*/ 5241434 h 5250578"/>
                <a:gd name="connsiteX4" fmla="*/ 1832772 w 8385201"/>
                <a:gd name="connsiteY4" fmla="*/ 2591717 h 5250578"/>
                <a:gd name="connsiteX5" fmla="*/ 862254 w 8385201"/>
                <a:gd name="connsiteY5" fmla="*/ 2581557 h 5250578"/>
                <a:gd name="connsiteX6" fmla="*/ 831774 w 8385201"/>
                <a:gd name="connsiteY6" fmla="*/ 2581560 h 5250578"/>
                <a:gd name="connsiteX7" fmla="*/ 227341 w 8385201"/>
                <a:gd name="connsiteY7" fmla="*/ 2601880 h 5250578"/>
                <a:gd name="connsiteX8" fmla="*/ 227341 w 8385201"/>
                <a:gd name="connsiteY8" fmla="*/ 5241436 h 5250578"/>
                <a:gd name="connsiteX9" fmla="*/ 10827 w 8385201"/>
                <a:gd name="connsiteY9" fmla="*/ 5241436 h 5250578"/>
                <a:gd name="connsiteX10" fmla="*/ 1683 w 8385201"/>
                <a:gd name="connsiteY10" fmla="*/ 9145 h 5250578"/>
                <a:gd name="connsiteX11" fmla="*/ 227341 w 8385201"/>
                <a:gd name="connsiteY11" fmla="*/ 9145 h 5250578"/>
                <a:gd name="connsiteX12" fmla="*/ 227341 w 8385201"/>
                <a:gd name="connsiteY12" fmla="*/ 9146 h 5250578"/>
                <a:gd name="connsiteX13" fmla="*/ 231051 w 8385201"/>
                <a:gd name="connsiteY13" fmla="*/ 9146 h 5250578"/>
                <a:gd name="connsiteX14" fmla="*/ 231051 w 8385201"/>
                <a:gd name="connsiteY14" fmla="*/ 9144 h 5250578"/>
                <a:gd name="connsiteX0" fmla="*/ 231051 w 8402387"/>
                <a:gd name="connsiteY0" fmla="*/ 9144 h 5250578"/>
                <a:gd name="connsiteX1" fmla="*/ 8375339 w 8402387"/>
                <a:gd name="connsiteY1" fmla="*/ 0 h 5250578"/>
                <a:gd name="connsiteX2" fmla="*/ 8389344 w 8402387"/>
                <a:gd name="connsiteY2" fmla="*/ 5250578 h 5250578"/>
                <a:gd name="connsiteX3" fmla="*/ 1842932 w 8402387"/>
                <a:gd name="connsiteY3" fmla="*/ 5241434 h 5250578"/>
                <a:gd name="connsiteX4" fmla="*/ 1832772 w 8402387"/>
                <a:gd name="connsiteY4" fmla="*/ 2591717 h 5250578"/>
                <a:gd name="connsiteX5" fmla="*/ 862254 w 8402387"/>
                <a:gd name="connsiteY5" fmla="*/ 2581557 h 5250578"/>
                <a:gd name="connsiteX6" fmla="*/ 831774 w 8402387"/>
                <a:gd name="connsiteY6" fmla="*/ 2581560 h 5250578"/>
                <a:gd name="connsiteX7" fmla="*/ 227341 w 8402387"/>
                <a:gd name="connsiteY7" fmla="*/ 2601880 h 5250578"/>
                <a:gd name="connsiteX8" fmla="*/ 227341 w 8402387"/>
                <a:gd name="connsiteY8" fmla="*/ 5241436 h 5250578"/>
                <a:gd name="connsiteX9" fmla="*/ 10827 w 8402387"/>
                <a:gd name="connsiteY9" fmla="*/ 5241436 h 5250578"/>
                <a:gd name="connsiteX10" fmla="*/ 1683 w 8402387"/>
                <a:gd name="connsiteY10" fmla="*/ 9145 h 5250578"/>
                <a:gd name="connsiteX11" fmla="*/ 227341 w 8402387"/>
                <a:gd name="connsiteY11" fmla="*/ 9145 h 5250578"/>
                <a:gd name="connsiteX12" fmla="*/ 227341 w 8402387"/>
                <a:gd name="connsiteY12" fmla="*/ 9146 h 5250578"/>
                <a:gd name="connsiteX13" fmla="*/ 231051 w 8402387"/>
                <a:gd name="connsiteY13" fmla="*/ 9146 h 5250578"/>
                <a:gd name="connsiteX14" fmla="*/ 231051 w 8402387"/>
                <a:gd name="connsiteY14" fmla="*/ 9144 h 5250578"/>
                <a:gd name="connsiteX0" fmla="*/ 231051 w 8393255"/>
                <a:gd name="connsiteY0" fmla="*/ 9144 h 5262153"/>
                <a:gd name="connsiteX1" fmla="*/ 8375339 w 8393255"/>
                <a:gd name="connsiteY1" fmla="*/ 0 h 5262153"/>
                <a:gd name="connsiteX2" fmla="*/ 8377770 w 8393255"/>
                <a:gd name="connsiteY2" fmla="*/ 5262153 h 5262153"/>
                <a:gd name="connsiteX3" fmla="*/ 1842932 w 8393255"/>
                <a:gd name="connsiteY3" fmla="*/ 5241434 h 5262153"/>
                <a:gd name="connsiteX4" fmla="*/ 1832772 w 8393255"/>
                <a:gd name="connsiteY4" fmla="*/ 2591717 h 5262153"/>
                <a:gd name="connsiteX5" fmla="*/ 862254 w 8393255"/>
                <a:gd name="connsiteY5" fmla="*/ 2581557 h 5262153"/>
                <a:gd name="connsiteX6" fmla="*/ 831774 w 8393255"/>
                <a:gd name="connsiteY6" fmla="*/ 2581560 h 5262153"/>
                <a:gd name="connsiteX7" fmla="*/ 227341 w 8393255"/>
                <a:gd name="connsiteY7" fmla="*/ 2601880 h 5262153"/>
                <a:gd name="connsiteX8" fmla="*/ 227341 w 8393255"/>
                <a:gd name="connsiteY8" fmla="*/ 5241436 h 5262153"/>
                <a:gd name="connsiteX9" fmla="*/ 10827 w 8393255"/>
                <a:gd name="connsiteY9" fmla="*/ 5241436 h 5262153"/>
                <a:gd name="connsiteX10" fmla="*/ 1683 w 8393255"/>
                <a:gd name="connsiteY10" fmla="*/ 9145 h 5262153"/>
                <a:gd name="connsiteX11" fmla="*/ 227341 w 8393255"/>
                <a:gd name="connsiteY11" fmla="*/ 9145 h 5262153"/>
                <a:gd name="connsiteX12" fmla="*/ 227341 w 8393255"/>
                <a:gd name="connsiteY12" fmla="*/ 9146 h 5262153"/>
                <a:gd name="connsiteX13" fmla="*/ 231051 w 8393255"/>
                <a:gd name="connsiteY13" fmla="*/ 9146 h 5262153"/>
                <a:gd name="connsiteX14" fmla="*/ 231051 w 8393255"/>
                <a:gd name="connsiteY14" fmla="*/ 9144 h 5262153"/>
                <a:gd name="connsiteX0" fmla="*/ 231051 w 8388114"/>
                <a:gd name="connsiteY0" fmla="*/ 9144 h 5262153"/>
                <a:gd name="connsiteX1" fmla="*/ 8375339 w 8388114"/>
                <a:gd name="connsiteY1" fmla="*/ 0 h 5262153"/>
                <a:gd name="connsiteX2" fmla="*/ 8377770 w 8388114"/>
                <a:gd name="connsiteY2" fmla="*/ 5262153 h 5262153"/>
                <a:gd name="connsiteX3" fmla="*/ 1842932 w 8388114"/>
                <a:gd name="connsiteY3" fmla="*/ 5241434 h 5262153"/>
                <a:gd name="connsiteX4" fmla="*/ 1832772 w 8388114"/>
                <a:gd name="connsiteY4" fmla="*/ 2591717 h 5262153"/>
                <a:gd name="connsiteX5" fmla="*/ 862254 w 8388114"/>
                <a:gd name="connsiteY5" fmla="*/ 2581557 h 5262153"/>
                <a:gd name="connsiteX6" fmla="*/ 831774 w 8388114"/>
                <a:gd name="connsiteY6" fmla="*/ 2581560 h 5262153"/>
                <a:gd name="connsiteX7" fmla="*/ 227341 w 8388114"/>
                <a:gd name="connsiteY7" fmla="*/ 2601880 h 5262153"/>
                <a:gd name="connsiteX8" fmla="*/ 227341 w 8388114"/>
                <a:gd name="connsiteY8" fmla="*/ 5241436 h 5262153"/>
                <a:gd name="connsiteX9" fmla="*/ 10827 w 8388114"/>
                <a:gd name="connsiteY9" fmla="*/ 5241436 h 5262153"/>
                <a:gd name="connsiteX10" fmla="*/ 1683 w 8388114"/>
                <a:gd name="connsiteY10" fmla="*/ 9145 h 5262153"/>
                <a:gd name="connsiteX11" fmla="*/ 227341 w 8388114"/>
                <a:gd name="connsiteY11" fmla="*/ 9145 h 5262153"/>
                <a:gd name="connsiteX12" fmla="*/ 227341 w 8388114"/>
                <a:gd name="connsiteY12" fmla="*/ 9146 h 5262153"/>
                <a:gd name="connsiteX13" fmla="*/ 231051 w 8388114"/>
                <a:gd name="connsiteY13" fmla="*/ 9146 h 5262153"/>
                <a:gd name="connsiteX14" fmla="*/ 231051 w 8388114"/>
                <a:gd name="connsiteY14" fmla="*/ 9144 h 5262153"/>
                <a:gd name="connsiteX0" fmla="*/ 231051 w 8388114"/>
                <a:gd name="connsiteY0" fmla="*/ 9144 h 5250578"/>
                <a:gd name="connsiteX1" fmla="*/ 8375339 w 8388114"/>
                <a:gd name="connsiteY1" fmla="*/ 0 h 5250578"/>
                <a:gd name="connsiteX2" fmla="*/ 8377770 w 8388114"/>
                <a:gd name="connsiteY2" fmla="*/ 5250578 h 5250578"/>
                <a:gd name="connsiteX3" fmla="*/ 1842932 w 8388114"/>
                <a:gd name="connsiteY3" fmla="*/ 5241434 h 5250578"/>
                <a:gd name="connsiteX4" fmla="*/ 1832772 w 8388114"/>
                <a:gd name="connsiteY4" fmla="*/ 2591717 h 5250578"/>
                <a:gd name="connsiteX5" fmla="*/ 862254 w 8388114"/>
                <a:gd name="connsiteY5" fmla="*/ 2581557 h 5250578"/>
                <a:gd name="connsiteX6" fmla="*/ 831774 w 8388114"/>
                <a:gd name="connsiteY6" fmla="*/ 2581560 h 5250578"/>
                <a:gd name="connsiteX7" fmla="*/ 227341 w 8388114"/>
                <a:gd name="connsiteY7" fmla="*/ 2601880 h 5250578"/>
                <a:gd name="connsiteX8" fmla="*/ 227341 w 8388114"/>
                <a:gd name="connsiteY8" fmla="*/ 5241436 h 5250578"/>
                <a:gd name="connsiteX9" fmla="*/ 10827 w 8388114"/>
                <a:gd name="connsiteY9" fmla="*/ 5241436 h 5250578"/>
                <a:gd name="connsiteX10" fmla="*/ 1683 w 8388114"/>
                <a:gd name="connsiteY10" fmla="*/ 9145 h 5250578"/>
                <a:gd name="connsiteX11" fmla="*/ 227341 w 8388114"/>
                <a:gd name="connsiteY11" fmla="*/ 9145 h 5250578"/>
                <a:gd name="connsiteX12" fmla="*/ 227341 w 8388114"/>
                <a:gd name="connsiteY12" fmla="*/ 9146 h 5250578"/>
                <a:gd name="connsiteX13" fmla="*/ 231051 w 8388114"/>
                <a:gd name="connsiteY13" fmla="*/ 9146 h 5250578"/>
                <a:gd name="connsiteX14" fmla="*/ 231051 w 8388114"/>
                <a:gd name="connsiteY14" fmla="*/ 9144 h 5250578"/>
                <a:gd name="connsiteX0" fmla="*/ 231051 w 8377950"/>
                <a:gd name="connsiteY0" fmla="*/ 9144 h 5250578"/>
                <a:gd name="connsiteX1" fmla="*/ 8375339 w 8377950"/>
                <a:gd name="connsiteY1" fmla="*/ 0 h 5250578"/>
                <a:gd name="connsiteX2" fmla="*/ 8377770 w 8377950"/>
                <a:gd name="connsiteY2" fmla="*/ 5250578 h 5250578"/>
                <a:gd name="connsiteX3" fmla="*/ 1842932 w 8377950"/>
                <a:gd name="connsiteY3" fmla="*/ 5241434 h 5250578"/>
                <a:gd name="connsiteX4" fmla="*/ 1832772 w 8377950"/>
                <a:gd name="connsiteY4" fmla="*/ 2591717 h 5250578"/>
                <a:gd name="connsiteX5" fmla="*/ 862254 w 8377950"/>
                <a:gd name="connsiteY5" fmla="*/ 2581557 h 5250578"/>
                <a:gd name="connsiteX6" fmla="*/ 831774 w 8377950"/>
                <a:gd name="connsiteY6" fmla="*/ 2581560 h 5250578"/>
                <a:gd name="connsiteX7" fmla="*/ 227341 w 8377950"/>
                <a:gd name="connsiteY7" fmla="*/ 2601880 h 5250578"/>
                <a:gd name="connsiteX8" fmla="*/ 227341 w 8377950"/>
                <a:gd name="connsiteY8" fmla="*/ 5241436 h 5250578"/>
                <a:gd name="connsiteX9" fmla="*/ 10827 w 8377950"/>
                <a:gd name="connsiteY9" fmla="*/ 5241436 h 5250578"/>
                <a:gd name="connsiteX10" fmla="*/ 1683 w 8377950"/>
                <a:gd name="connsiteY10" fmla="*/ 9145 h 5250578"/>
                <a:gd name="connsiteX11" fmla="*/ 227341 w 8377950"/>
                <a:gd name="connsiteY11" fmla="*/ 9145 h 5250578"/>
                <a:gd name="connsiteX12" fmla="*/ 227341 w 8377950"/>
                <a:gd name="connsiteY12" fmla="*/ 9146 h 5250578"/>
                <a:gd name="connsiteX13" fmla="*/ 231051 w 8377950"/>
                <a:gd name="connsiteY13" fmla="*/ 9146 h 5250578"/>
                <a:gd name="connsiteX14" fmla="*/ 231051 w 8377950"/>
                <a:gd name="connsiteY14" fmla="*/ 9144 h 5250578"/>
                <a:gd name="connsiteX0" fmla="*/ 231051 w 8377798"/>
                <a:gd name="connsiteY0" fmla="*/ 20719 h 5262153"/>
                <a:gd name="connsiteX1" fmla="*/ 8363764 w 8377798"/>
                <a:gd name="connsiteY1" fmla="*/ 0 h 5262153"/>
                <a:gd name="connsiteX2" fmla="*/ 8377770 w 8377798"/>
                <a:gd name="connsiteY2" fmla="*/ 5262153 h 5262153"/>
                <a:gd name="connsiteX3" fmla="*/ 1842932 w 8377798"/>
                <a:gd name="connsiteY3" fmla="*/ 5253009 h 5262153"/>
                <a:gd name="connsiteX4" fmla="*/ 1832772 w 8377798"/>
                <a:gd name="connsiteY4" fmla="*/ 2603292 h 5262153"/>
                <a:gd name="connsiteX5" fmla="*/ 862254 w 8377798"/>
                <a:gd name="connsiteY5" fmla="*/ 2593132 h 5262153"/>
                <a:gd name="connsiteX6" fmla="*/ 831774 w 8377798"/>
                <a:gd name="connsiteY6" fmla="*/ 2593135 h 5262153"/>
                <a:gd name="connsiteX7" fmla="*/ 227341 w 8377798"/>
                <a:gd name="connsiteY7" fmla="*/ 2613455 h 5262153"/>
                <a:gd name="connsiteX8" fmla="*/ 227341 w 8377798"/>
                <a:gd name="connsiteY8" fmla="*/ 5253011 h 5262153"/>
                <a:gd name="connsiteX9" fmla="*/ 10827 w 8377798"/>
                <a:gd name="connsiteY9" fmla="*/ 5253011 h 5262153"/>
                <a:gd name="connsiteX10" fmla="*/ 1683 w 8377798"/>
                <a:gd name="connsiteY10" fmla="*/ 20720 h 5262153"/>
                <a:gd name="connsiteX11" fmla="*/ 227341 w 8377798"/>
                <a:gd name="connsiteY11" fmla="*/ 20720 h 5262153"/>
                <a:gd name="connsiteX12" fmla="*/ 227341 w 8377798"/>
                <a:gd name="connsiteY12" fmla="*/ 20721 h 5262153"/>
                <a:gd name="connsiteX13" fmla="*/ 231051 w 8377798"/>
                <a:gd name="connsiteY13" fmla="*/ 20721 h 5262153"/>
                <a:gd name="connsiteX14" fmla="*/ 231051 w 8377798"/>
                <a:gd name="connsiteY14" fmla="*/ 20719 h 5262153"/>
                <a:gd name="connsiteX0" fmla="*/ 231051 w 8377798"/>
                <a:gd name="connsiteY0" fmla="*/ 20719 h 5262153"/>
                <a:gd name="connsiteX1" fmla="*/ 8363764 w 8377798"/>
                <a:gd name="connsiteY1" fmla="*/ 0 h 5262153"/>
                <a:gd name="connsiteX2" fmla="*/ 8377770 w 8377798"/>
                <a:gd name="connsiteY2" fmla="*/ 5262153 h 5262153"/>
                <a:gd name="connsiteX3" fmla="*/ 1842932 w 8377798"/>
                <a:gd name="connsiteY3" fmla="*/ 5253009 h 5262153"/>
                <a:gd name="connsiteX4" fmla="*/ 1832772 w 8377798"/>
                <a:gd name="connsiteY4" fmla="*/ 2603292 h 5262153"/>
                <a:gd name="connsiteX5" fmla="*/ 862254 w 8377798"/>
                <a:gd name="connsiteY5" fmla="*/ 2593132 h 5262153"/>
                <a:gd name="connsiteX6" fmla="*/ 831774 w 8377798"/>
                <a:gd name="connsiteY6" fmla="*/ 2593135 h 5262153"/>
                <a:gd name="connsiteX7" fmla="*/ 227341 w 8377798"/>
                <a:gd name="connsiteY7" fmla="*/ 2613455 h 5262153"/>
                <a:gd name="connsiteX8" fmla="*/ 227341 w 8377798"/>
                <a:gd name="connsiteY8" fmla="*/ 5253011 h 5262153"/>
                <a:gd name="connsiteX9" fmla="*/ 10827 w 8377798"/>
                <a:gd name="connsiteY9" fmla="*/ 5253011 h 5262153"/>
                <a:gd name="connsiteX10" fmla="*/ 1683 w 8377798"/>
                <a:gd name="connsiteY10" fmla="*/ 20720 h 5262153"/>
                <a:gd name="connsiteX11" fmla="*/ 227341 w 8377798"/>
                <a:gd name="connsiteY11" fmla="*/ 20720 h 5262153"/>
                <a:gd name="connsiteX12" fmla="*/ 227341 w 8377798"/>
                <a:gd name="connsiteY12" fmla="*/ 20721 h 5262153"/>
                <a:gd name="connsiteX13" fmla="*/ 231051 w 8377798"/>
                <a:gd name="connsiteY13" fmla="*/ 20721 h 5262153"/>
                <a:gd name="connsiteX14" fmla="*/ 231051 w 8377798"/>
                <a:gd name="connsiteY14" fmla="*/ 20719 h 5262153"/>
                <a:gd name="connsiteX0" fmla="*/ 231051 w 8377950"/>
                <a:gd name="connsiteY0" fmla="*/ 9145 h 5250579"/>
                <a:gd name="connsiteX1" fmla="*/ 8375339 w 8377950"/>
                <a:gd name="connsiteY1" fmla="*/ 0 h 5250579"/>
                <a:gd name="connsiteX2" fmla="*/ 8377770 w 8377950"/>
                <a:gd name="connsiteY2" fmla="*/ 5250579 h 5250579"/>
                <a:gd name="connsiteX3" fmla="*/ 1842932 w 8377950"/>
                <a:gd name="connsiteY3" fmla="*/ 5241435 h 5250579"/>
                <a:gd name="connsiteX4" fmla="*/ 1832772 w 8377950"/>
                <a:gd name="connsiteY4" fmla="*/ 2591718 h 5250579"/>
                <a:gd name="connsiteX5" fmla="*/ 862254 w 8377950"/>
                <a:gd name="connsiteY5" fmla="*/ 2581558 h 5250579"/>
                <a:gd name="connsiteX6" fmla="*/ 831774 w 8377950"/>
                <a:gd name="connsiteY6" fmla="*/ 2581561 h 5250579"/>
                <a:gd name="connsiteX7" fmla="*/ 227341 w 8377950"/>
                <a:gd name="connsiteY7" fmla="*/ 2601881 h 5250579"/>
                <a:gd name="connsiteX8" fmla="*/ 227341 w 8377950"/>
                <a:gd name="connsiteY8" fmla="*/ 5241437 h 5250579"/>
                <a:gd name="connsiteX9" fmla="*/ 10827 w 8377950"/>
                <a:gd name="connsiteY9" fmla="*/ 5241437 h 5250579"/>
                <a:gd name="connsiteX10" fmla="*/ 1683 w 8377950"/>
                <a:gd name="connsiteY10" fmla="*/ 9146 h 5250579"/>
                <a:gd name="connsiteX11" fmla="*/ 227341 w 8377950"/>
                <a:gd name="connsiteY11" fmla="*/ 9146 h 5250579"/>
                <a:gd name="connsiteX12" fmla="*/ 227341 w 8377950"/>
                <a:gd name="connsiteY12" fmla="*/ 9147 h 5250579"/>
                <a:gd name="connsiteX13" fmla="*/ 231051 w 8377950"/>
                <a:gd name="connsiteY13" fmla="*/ 9147 h 5250579"/>
                <a:gd name="connsiteX14" fmla="*/ 231051 w 8377950"/>
                <a:gd name="connsiteY14" fmla="*/ 9145 h 5250579"/>
                <a:gd name="connsiteX0" fmla="*/ 231051 w 8377950"/>
                <a:gd name="connsiteY0" fmla="*/ 9145 h 5250579"/>
                <a:gd name="connsiteX1" fmla="*/ 8375339 w 8377950"/>
                <a:gd name="connsiteY1" fmla="*/ 0 h 5250579"/>
                <a:gd name="connsiteX2" fmla="*/ 8377770 w 8377950"/>
                <a:gd name="connsiteY2" fmla="*/ 5250579 h 5250579"/>
                <a:gd name="connsiteX3" fmla="*/ 1842932 w 8377950"/>
                <a:gd name="connsiteY3" fmla="*/ 5241435 h 5250579"/>
                <a:gd name="connsiteX4" fmla="*/ 1832772 w 8377950"/>
                <a:gd name="connsiteY4" fmla="*/ 2591718 h 5250579"/>
                <a:gd name="connsiteX5" fmla="*/ 862254 w 8377950"/>
                <a:gd name="connsiteY5" fmla="*/ 2581558 h 5250579"/>
                <a:gd name="connsiteX6" fmla="*/ 831774 w 8377950"/>
                <a:gd name="connsiteY6" fmla="*/ 2581561 h 5250579"/>
                <a:gd name="connsiteX7" fmla="*/ 227341 w 8377950"/>
                <a:gd name="connsiteY7" fmla="*/ 2601881 h 5250579"/>
                <a:gd name="connsiteX8" fmla="*/ 227341 w 8377950"/>
                <a:gd name="connsiteY8" fmla="*/ 5241437 h 5250579"/>
                <a:gd name="connsiteX9" fmla="*/ 10827 w 8377950"/>
                <a:gd name="connsiteY9" fmla="*/ 5241437 h 5250579"/>
                <a:gd name="connsiteX10" fmla="*/ 1683 w 8377950"/>
                <a:gd name="connsiteY10" fmla="*/ 9146 h 5250579"/>
                <a:gd name="connsiteX11" fmla="*/ 227341 w 8377950"/>
                <a:gd name="connsiteY11" fmla="*/ 9146 h 5250579"/>
                <a:gd name="connsiteX12" fmla="*/ 227341 w 8377950"/>
                <a:gd name="connsiteY12" fmla="*/ 9147 h 5250579"/>
                <a:gd name="connsiteX13" fmla="*/ 231051 w 8377950"/>
                <a:gd name="connsiteY13" fmla="*/ 9147 h 5250579"/>
                <a:gd name="connsiteX14" fmla="*/ 231051 w 8377950"/>
                <a:gd name="connsiteY14" fmla="*/ 9145 h 5250579"/>
                <a:gd name="connsiteX0" fmla="*/ 231051 w 8377950"/>
                <a:gd name="connsiteY0" fmla="*/ 9147 h 5250579"/>
                <a:gd name="connsiteX1" fmla="*/ 8375339 w 8377950"/>
                <a:gd name="connsiteY1" fmla="*/ 0 h 5250579"/>
                <a:gd name="connsiteX2" fmla="*/ 8377770 w 8377950"/>
                <a:gd name="connsiteY2" fmla="*/ 5250579 h 5250579"/>
                <a:gd name="connsiteX3" fmla="*/ 1842932 w 8377950"/>
                <a:gd name="connsiteY3" fmla="*/ 5241435 h 5250579"/>
                <a:gd name="connsiteX4" fmla="*/ 1832772 w 8377950"/>
                <a:gd name="connsiteY4" fmla="*/ 2591718 h 5250579"/>
                <a:gd name="connsiteX5" fmla="*/ 862254 w 8377950"/>
                <a:gd name="connsiteY5" fmla="*/ 2581558 h 5250579"/>
                <a:gd name="connsiteX6" fmla="*/ 831774 w 8377950"/>
                <a:gd name="connsiteY6" fmla="*/ 2581561 h 5250579"/>
                <a:gd name="connsiteX7" fmla="*/ 227341 w 8377950"/>
                <a:gd name="connsiteY7" fmla="*/ 2601881 h 5250579"/>
                <a:gd name="connsiteX8" fmla="*/ 227341 w 8377950"/>
                <a:gd name="connsiteY8" fmla="*/ 5241437 h 5250579"/>
                <a:gd name="connsiteX9" fmla="*/ 10827 w 8377950"/>
                <a:gd name="connsiteY9" fmla="*/ 5241437 h 5250579"/>
                <a:gd name="connsiteX10" fmla="*/ 1683 w 8377950"/>
                <a:gd name="connsiteY10" fmla="*/ 9146 h 5250579"/>
                <a:gd name="connsiteX11" fmla="*/ 227341 w 8377950"/>
                <a:gd name="connsiteY11" fmla="*/ 9146 h 5250579"/>
                <a:gd name="connsiteX12" fmla="*/ 227341 w 8377950"/>
                <a:gd name="connsiteY12" fmla="*/ 9147 h 5250579"/>
                <a:gd name="connsiteX13" fmla="*/ 231051 w 8377950"/>
                <a:gd name="connsiteY13" fmla="*/ 9147 h 5250579"/>
                <a:gd name="connsiteX0" fmla="*/ 227341 w 8377950"/>
                <a:gd name="connsiteY0" fmla="*/ 9147 h 5250579"/>
                <a:gd name="connsiteX1" fmla="*/ 8375339 w 8377950"/>
                <a:gd name="connsiteY1" fmla="*/ 0 h 5250579"/>
                <a:gd name="connsiteX2" fmla="*/ 8377770 w 8377950"/>
                <a:gd name="connsiteY2" fmla="*/ 5250579 h 5250579"/>
                <a:gd name="connsiteX3" fmla="*/ 1842932 w 8377950"/>
                <a:gd name="connsiteY3" fmla="*/ 5241435 h 5250579"/>
                <a:gd name="connsiteX4" fmla="*/ 1832772 w 8377950"/>
                <a:gd name="connsiteY4" fmla="*/ 2591718 h 5250579"/>
                <a:gd name="connsiteX5" fmla="*/ 862254 w 8377950"/>
                <a:gd name="connsiteY5" fmla="*/ 2581558 h 5250579"/>
                <a:gd name="connsiteX6" fmla="*/ 831774 w 8377950"/>
                <a:gd name="connsiteY6" fmla="*/ 2581561 h 5250579"/>
                <a:gd name="connsiteX7" fmla="*/ 227341 w 8377950"/>
                <a:gd name="connsiteY7" fmla="*/ 2601881 h 5250579"/>
                <a:gd name="connsiteX8" fmla="*/ 227341 w 8377950"/>
                <a:gd name="connsiteY8" fmla="*/ 5241437 h 5250579"/>
                <a:gd name="connsiteX9" fmla="*/ 10827 w 8377950"/>
                <a:gd name="connsiteY9" fmla="*/ 5241437 h 5250579"/>
                <a:gd name="connsiteX10" fmla="*/ 1683 w 8377950"/>
                <a:gd name="connsiteY10" fmla="*/ 9146 h 5250579"/>
                <a:gd name="connsiteX11" fmla="*/ 227341 w 8377950"/>
                <a:gd name="connsiteY11" fmla="*/ 9146 h 5250579"/>
                <a:gd name="connsiteX12" fmla="*/ 227341 w 8377950"/>
                <a:gd name="connsiteY12" fmla="*/ 9147 h 5250579"/>
                <a:gd name="connsiteX0" fmla="*/ 227341 w 8377950"/>
                <a:gd name="connsiteY0" fmla="*/ 9146 h 5250579"/>
                <a:gd name="connsiteX1" fmla="*/ 8375339 w 8377950"/>
                <a:gd name="connsiteY1" fmla="*/ 0 h 5250579"/>
                <a:gd name="connsiteX2" fmla="*/ 8377770 w 8377950"/>
                <a:gd name="connsiteY2" fmla="*/ 5250579 h 5250579"/>
                <a:gd name="connsiteX3" fmla="*/ 1842932 w 8377950"/>
                <a:gd name="connsiteY3" fmla="*/ 5241435 h 5250579"/>
                <a:gd name="connsiteX4" fmla="*/ 1832772 w 8377950"/>
                <a:gd name="connsiteY4" fmla="*/ 2591718 h 5250579"/>
                <a:gd name="connsiteX5" fmla="*/ 862254 w 8377950"/>
                <a:gd name="connsiteY5" fmla="*/ 2581558 h 5250579"/>
                <a:gd name="connsiteX6" fmla="*/ 831774 w 8377950"/>
                <a:gd name="connsiteY6" fmla="*/ 2581561 h 5250579"/>
                <a:gd name="connsiteX7" fmla="*/ 227341 w 8377950"/>
                <a:gd name="connsiteY7" fmla="*/ 2601881 h 5250579"/>
                <a:gd name="connsiteX8" fmla="*/ 227341 w 8377950"/>
                <a:gd name="connsiteY8" fmla="*/ 5241437 h 5250579"/>
                <a:gd name="connsiteX9" fmla="*/ 10827 w 8377950"/>
                <a:gd name="connsiteY9" fmla="*/ 5241437 h 5250579"/>
                <a:gd name="connsiteX10" fmla="*/ 1683 w 8377950"/>
                <a:gd name="connsiteY10" fmla="*/ 9146 h 5250579"/>
                <a:gd name="connsiteX11" fmla="*/ 227341 w 8377950"/>
                <a:gd name="connsiteY11" fmla="*/ 9146 h 5250579"/>
                <a:gd name="connsiteX0" fmla="*/ 227341 w 8377950"/>
                <a:gd name="connsiteY0" fmla="*/ 9146 h 5250579"/>
                <a:gd name="connsiteX1" fmla="*/ 8375339 w 8377950"/>
                <a:gd name="connsiteY1" fmla="*/ 0 h 5250579"/>
                <a:gd name="connsiteX2" fmla="*/ 8377770 w 8377950"/>
                <a:gd name="connsiteY2" fmla="*/ 5250579 h 5250579"/>
                <a:gd name="connsiteX3" fmla="*/ 1842932 w 8377950"/>
                <a:gd name="connsiteY3" fmla="*/ 5241435 h 5250579"/>
                <a:gd name="connsiteX4" fmla="*/ 1832772 w 8377950"/>
                <a:gd name="connsiteY4" fmla="*/ 2591718 h 5250579"/>
                <a:gd name="connsiteX5" fmla="*/ 862254 w 8377950"/>
                <a:gd name="connsiteY5" fmla="*/ 2581558 h 5250579"/>
                <a:gd name="connsiteX6" fmla="*/ 831774 w 8377950"/>
                <a:gd name="connsiteY6" fmla="*/ 2581561 h 5250579"/>
                <a:gd name="connsiteX7" fmla="*/ 227341 w 8377950"/>
                <a:gd name="connsiteY7" fmla="*/ 2601881 h 5250579"/>
                <a:gd name="connsiteX8" fmla="*/ 227341 w 8377950"/>
                <a:gd name="connsiteY8" fmla="*/ 5241437 h 5250579"/>
                <a:gd name="connsiteX9" fmla="*/ 10827 w 8377950"/>
                <a:gd name="connsiteY9" fmla="*/ 5241437 h 5250579"/>
                <a:gd name="connsiteX10" fmla="*/ 1683 w 8377950"/>
                <a:gd name="connsiteY10" fmla="*/ 9146 h 5250579"/>
                <a:gd name="connsiteX11" fmla="*/ 227341 w 8377950"/>
                <a:gd name="connsiteY11" fmla="*/ 9146 h 5250579"/>
                <a:gd name="connsiteX0" fmla="*/ 681176 w 8831785"/>
                <a:gd name="connsiteY0" fmla="*/ 9146 h 5250579"/>
                <a:gd name="connsiteX1" fmla="*/ 8829174 w 8831785"/>
                <a:gd name="connsiteY1" fmla="*/ 0 h 5250579"/>
                <a:gd name="connsiteX2" fmla="*/ 8831605 w 8831785"/>
                <a:gd name="connsiteY2" fmla="*/ 5250579 h 5250579"/>
                <a:gd name="connsiteX3" fmla="*/ 2296767 w 8831785"/>
                <a:gd name="connsiteY3" fmla="*/ 5241435 h 5250579"/>
                <a:gd name="connsiteX4" fmla="*/ 2286607 w 8831785"/>
                <a:gd name="connsiteY4" fmla="*/ 2591718 h 5250579"/>
                <a:gd name="connsiteX5" fmla="*/ 1316089 w 8831785"/>
                <a:gd name="connsiteY5" fmla="*/ 2581558 h 5250579"/>
                <a:gd name="connsiteX6" fmla="*/ 1285609 w 8831785"/>
                <a:gd name="connsiteY6" fmla="*/ 2581561 h 5250579"/>
                <a:gd name="connsiteX7" fmla="*/ 681176 w 8831785"/>
                <a:gd name="connsiteY7" fmla="*/ 2601881 h 5250579"/>
                <a:gd name="connsiteX8" fmla="*/ 681176 w 8831785"/>
                <a:gd name="connsiteY8" fmla="*/ 5241437 h 5250579"/>
                <a:gd name="connsiteX9" fmla="*/ 464662 w 8831785"/>
                <a:gd name="connsiteY9" fmla="*/ 5241437 h 5250579"/>
                <a:gd name="connsiteX10" fmla="*/ 681176 w 8831785"/>
                <a:gd name="connsiteY10" fmla="*/ 9146 h 5250579"/>
                <a:gd name="connsiteX0" fmla="*/ 621718 w 8980671"/>
                <a:gd name="connsiteY0" fmla="*/ 9146 h 5250579"/>
                <a:gd name="connsiteX1" fmla="*/ 8978060 w 8980671"/>
                <a:gd name="connsiteY1" fmla="*/ 0 h 5250579"/>
                <a:gd name="connsiteX2" fmla="*/ 8980491 w 8980671"/>
                <a:gd name="connsiteY2" fmla="*/ 5250579 h 5250579"/>
                <a:gd name="connsiteX3" fmla="*/ 2445653 w 8980671"/>
                <a:gd name="connsiteY3" fmla="*/ 5241435 h 5250579"/>
                <a:gd name="connsiteX4" fmla="*/ 2435493 w 8980671"/>
                <a:gd name="connsiteY4" fmla="*/ 2591718 h 5250579"/>
                <a:gd name="connsiteX5" fmla="*/ 1464975 w 8980671"/>
                <a:gd name="connsiteY5" fmla="*/ 2581558 h 5250579"/>
                <a:gd name="connsiteX6" fmla="*/ 1434495 w 8980671"/>
                <a:gd name="connsiteY6" fmla="*/ 2581561 h 5250579"/>
                <a:gd name="connsiteX7" fmla="*/ 830062 w 8980671"/>
                <a:gd name="connsiteY7" fmla="*/ 2601881 h 5250579"/>
                <a:gd name="connsiteX8" fmla="*/ 830062 w 8980671"/>
                <a:gd name="connsiteY8" fmla="*/ 5241437 h 5250579"/>
                <a:gd name="connsiteX9" fmla="*/ 613548 w 8980671"/>
                <a:gd name="connsiteY9" fmla="*/ 5241437 h 5250579"/>
                <a:gd name="connsiteX10" fmla="*/ 621718 w 8980671"/>
                <a:gd name="connsiteY10" fmla="*/ 9146 h 5250579"/>
                <a:gd name="connsiteX0" fmla="*/ 15100 w 8374053"/>
                <a:gd name="connsiteY0" fmla="*/ 9146 h 5250579"/>
                <a:gd name="connsiteX1" fmla="*/ 8371442 w 8374053"/>
                <a:gd name="connsiteY1" fmla="*/ 0 h 5250579"/>
                <a:gd name="connsiteX2" fmla="*/ 8373873 w 8374053"/>
                <a:gd name="connsiteY2" fmla="*/ 5250579 h 5250579"/>
                <a:gd name="connsiteX3" fmla="*/ 1839035 w 8374053"/>
                <a:gd name="connsiteY3" fmla="*/ 5241435 h 5250579"/>
                <a:gd name="connsiteX4" fmla="*/ 1828875 w 8374053"/>
                <a:gd name="connsiteY4" fmla="*/ 2591718 h 5250579"/>
                <a:gd name="connsiteX5" fmla="*/ 858357 w 8374053"/>
                <a:gd name="connsiteY5" fmla="*/ 2581558 h 5250579"/>
                <a:gd name="connsiteX6" fmla="*/ 827877 w 8374053"/>
                <a:gd name="connsiteY6" fmla="*/ 2581561 h 5250579"/>
                <a:gd name="connsiteX7" fmla="*/ 223444 w 8374053"/>
                <a:gd name="connsiteY7" fmla="*/ 2601881 h 5250579"/>
                <a:gd name="connsiteX8" fmla="*/ 223444 w 8374053"/>
                <a:gd name="connsiteY8" fmla="*/ 5241437 h 5250579"/>
                <a:gd name="connsiteX9" fmla="*/ 6930 w 8374053"/>
                <a:gd name="connsiteY9" fmla="*/ 5241437 h 5250579"/>
                <a:gd name="connsiteX10" fmla="*/ 15100 w 8374053"/>
                <a:gd name="connsiteY10" fmla="*/ 9146 h 5250579"/>
                <a:gd name="connsiteX0" fmla="*/ 11739 w 8382267"/>
                <a:gd name="connsiteY0" fmla="*/ 9146 h 5250579"/>
                <a:gd name="connsiteX1" fmla="*/ 8379656 w 8382267"/>
                <a:gd name="connsiteY1" fmla="*/ 0 h 5250579"/>
                <a:gd name="connsiteX2" fmla="*/ 8382087 w 8382267"/>
                <a:gd name="connsiteY2" fmla="*/ 5250579 h 5250579"/>
                <a:gd name="connsiteX3" fmla="*/ 1847249 w 8382267"/>
                <a:gd name="connsiteY3" fmla="*/ 5241435 h 5250579"/>
                <a:gd name="connsiteX4" fmla="*/ 1837089 w 8382267"/>
                <a:gd name="connsiteY4" fmla="*/ 2591718 h 5250579"/>
                <a:gd name="connsiteX5" fmla="*/ 866571 w 8382267"/>
                <a:gd name="connsiteY5" fmla="*/ 2581558 h 5250579"/>
                <a:gd name="connsiteX6" fmla="*/ 836091 w 8382267"/>
                <a:gd name="connsiteY6" fmla="*/ 2581561 h 5250579"/>
                <a:gd name="connsiteX7" fmla="*/ 231658 w 8382267"/>
                <a:gd name="connsiteY7" fmla="*/ 2601881 h 5250579"/>
                <a:gd name="connsiteX8" fmla="*/ 231658 w 8382267"/>
                <a:gd name="connsiteY8" fmla="*/ 5241437 h 5250579"/>
                <a:gd name="connsiteX9" fmla="*/ 15144 w 8382267"/>
                <a:gd name="connsiteY9" fmla="*/ 5241437 h 5250579"/>
                <a:gd name="connsiteX10" fmla="*/ 11739 w 8382267"/>
                <a:gd name="connsiteY10" fmla="*/ 9146 h 5250579"/>
                <a:gd name="connsiteX0" fmla="*/ 11739 w 8391407"/>
                <a:gd name="connsiteY0" fmla="*/ 9146 h 5250579"/>
                <a:gd name="connsiteX1" fmla="*/ 8391231 w 8391407"/>
                <a:gd name="connsiteY1" fmla="*/ 0 h 5250579"/>
                <a:gd name="connsiteX2" fmla="*/ 8382087 w 8391407"/>
                <a:gd name="connsiteY2" fmla="*/ 5250579 h 5250579"/>
                <a:gd name="connsiteX3" fmla="*/ 1847249 w 8391407"/>
                <a:gd name="connsiteY3" fmla="*/ 5241435 h 5250579"/>
                <a:gd name="connsiteX4" fmla="*/ 1837089 w 8391407"/>
                <a:gd name="connsiteY4" fmla="*/ 2591718 h 5250579"/>
                <a:gd name="connsiteX5" fmla="*/ 866571 w 8391407"/>
                <a:gd name="connsiteY5" fmla="*/ 2581558 h 5250579"/>
                <a:gd name="connsiteX6" fmla="*/ 836091 w 8391407"/>
                <a:gd name="connsiteY6" fmla="*/ 2581561 h 5250579"/>
                <a:gd name="connsiteX7" fmla="*/ 231658 w 8391407"/>
                <a:gd name="connsiteY7" fmla="*/ 2601881 h 5250579"/>
                <a:gd name="connsiteX8" fmla="*/ 231658 w 8391407"/>
                <a:gd name="connsiteY8" fmla="*/ 5241437 h 5250579"/>
                <a:gd name="connsiteX9" fmla="*/ 15144 w 8391407"/>
                <a:gd name="connsiteY9" fmla="*/ 5241437 h 5250579"/>
                <a:gd name="connsiteX10" fmla="*/ 11739 w 8391407"/>
                <a:gd name="connsiteY10" fmla="*/ 9146 h 5250579"/>
                <a:gd name="connsiteX0" fmla="*/ 11739 w 8382267"/>
                <a:gd name="connsiteY0" fmla="*/ 9146 h 5250579"/>
                <a:gd name="connsiteX1" fmla="*/ 8379656 w 8382267"/>
                <a:gd name="connsiteY1" fmla="*/ 0 h 5250579"/>
                <a:gd name="connsiteX2" fmla="*/ 8382087 w 8382267"/>
                <a:gd name="connsiteY2" fmla="*/ 5250579 h 5250579"/>
                <a:gd name="connsiteX3" fmla="*/ 1847249 w 8382267"/>
                <a:gd name="connsiteY3" fmla="*/ 5241435 h 5250579"/>
                <a:gd name="connsiteX4" fmla="*/ 1837089 w 8382267"/>
                <a:gd name="connsiteY4" fmla="*/ 2591718 h 5250579"/>
                <a:gd name="connsiteX5" fmla="*/ 866571 w 8382267"/>
                <a:gd name="connsiteY5" fmla="*/ 2581558 h 5250579"/>
                <a:gd name="connsiteX6" fmla="*/ 836091 w 8382267"/>
                <a:gd name="connsiteY6" fmla="*/ 2581561 h 5250579"/>
                <a:gd name="connsiteX7" fmla="*/ 231658 w 8382267"/>
                <a:gd name="connsiteY7" fmla="*/ 2601881 h 5250579"/>
                <a:gd name="connsiteX8" fmla="*/ 231658 w 8382267"/>
                <a:gd name="connsiteY8" fmla="*/ 5241437 h 5250579"/>
                <a:gd name="connsiteX9" fmla="*/ 15144 w 8382267"/>
                <a:gd name="connsiteY9" fmla="*/ 5241437 h 5250579"/>
                <a:gd name="connsiteX10" fmla="*/ 11739 w 8382267"/>
                <a:gd name="connsiteY10" fmla="*/ 9146 h 5250579"/>
                <a:gd name="connsiteX0" fmla="*/ 11739 w 8391407"/>
                <a:gd name="connsiteY0" fmla="*/ 20721 h 5262154"/>
                <a:gd name="connsiteX1" fmla="*/ 8391231 w 8391407"/>
                <a:gd name="connsiteY1" fmla="*/ 0 h 5262154"/>
                <a:gd name="connsiteX2" fmla="*/ 8382087 w 8391407"/>
                <a:gd name="connsiteY2" fmla="*/ 5262154 h 5262154"/>
                <a:gd name="connsiteX3" fmla="*/ 1847249 w 8391407"/>
                <a:gd name="connsiteY3" fmla="*/ 5253010 h 5262154"/>
                <a:gd name="connsiteX4" fmla="*/ 1837089 w 8391407"/>
                <a:gd name="connsiteY4" fmla="*/ 2603293 h 5262154"/>
                <a:gd name="connsiteX5" fmla="*/ 866571 w 8391407"/>
                <a:gd name="connsiteY5" fmla="*/ 2593133 h 5262154"/>
                <a:gd name="connsiteX6" fmla="*/ 836091 w 8391407"/>
                <a:gd name="connsiteY6" fmla="*/ 2593136 h 5262154"/>
                <a:gd name="connsiteX7" fmla="*/ 231658 w 8391407"/>
                <a:gd name="connsiteY7" fmla="*/ 2613456 h 5262154"/>
                <a:gd name="connsiteX8" fmla="*/ 231658 w 8391407"/>
                <a:gd name="connsiteY8" fmla="*/ 5253012 h 5262154"/>
                <a:gd name="connsiteX9" fmla="*/ 15144 w 8391407"/>
                <a:gd name="connsiteY9" fmla="*/ 5253012 h 5262154"/>
                <a:gd name="connsiteX10" fmla="*/ 11739 w 8391407"/>
                <a:gd name="connsiteY10" fmla="*/ 20721 h 5262154"/>
                <a:gd name="connsiteX0" fmla="*/ 11739 w 8382102"/>
                <a:gd name="connsiteY0" fmla="*/ 20721 h 5262154"/>
                <a:gd name="connsiteX1" fmla="*/ 8356507 w 8382102"/>
                <a:gd name="connsiteY1" fmla="*/ 0 h 5262154"/>
                <a:gd name="connsiteX2" fmla="*/ 8382087 w 8382102"/>
                <a:gd name="connsiteY2" fmla="*/ 5262154 h 5262154"/>
                <a:gd name="connsiteX3" fmla="*/ 1847249 w 8382102"/>
                <a:gd name="connsiteY3" fmla="*/ 5253010 h 5262154"/>
                <a:gd name="connsiteX4" fmla="*/ 1837089 w 8382102"/>
                <a:gd name="connsiteY4" fmla="*/ 2603293 h 5262154"/>
                <a:gd name="connsiteX5" fmla="*/ 866571 w 8382102"/>
                <a:gd name="connsiteY5" fmla="*/ 2593133 h 5262154"/>
                <a:gd name="connsiteX6" fmla="*/ 836091 w 8382102"/>
                <a:gd name="connsiteY6" fmla="*/ 2593136 h 5262154"/>
                <a:gd name="connsiteX7" fmla="*/ 231658 w 8382102"/>
                <a:gd name="connsiteY7" fmla="*/ 2613456 h 5262154"/>
                <a:gd name="connsiteX8" fmla="*/ 231658 w 8382102"/>
                <a:gd name="connsiteY8" fmla="*/ 5253012 h 5262154"/>
                <a:gd name="connsiteX9" fmla="*/ 15144 w 8382102"/>
                <a:gd name="connsiteY9" fmla="*/ 5253012 h 5262154"/>
                <a:gd name="connsiteX10" fmla="*/ 11739 w 8382102"/>
                <a:gd name="connsiteY10" fmla="*/ 20721 h 5262154"/>
                <a:gd name="connsiteX0" fmla="*/ 11739 w 8382267"/>
                <a:gd name="connsiteY0" fmla="*/ 9146 h 5250579"/>
                <a:gd name="connsiteX1" fmla="*/ 8379656 w 8382267"/>
                <a:gd name="connsiteY1" fmla="*/ 0 h 5250579"/>
                <a:gd name="connsiteX2" fmla="*/ 8382087 w 8382267"/>
                <a:gd name="connsiteY2" fmla="*/ 5250579 h 5250579"/>
                <a:gd name="connsiteX3" fmla="*/ 1847249 w 8382267"/>
                <a:gd name="connsiteY3" fmla="*/ 5241435 h 5250579"/>
                <a:gd name="connsiteX4" fmla="*/ 1837089 w 8382267"/>
                <a:gd name="connsiteY4" fmla="*/ 2591718 h 5250579"/>
                <a:gd name="connsiteX5" fmla="*/ 866571 w 8382267"/>
                <a:gd name="connsiteY5" fmla="*/ 2581558 h 5250579"/>
                <a:gd name="connsiteX6" fmla="*/ 836091 w 8382267"/>
                <a:gd name="connsiteY6" fmla="*/ 2581561 h 5250579"/>
                <a:gd name="connsiteX7" fmla="*/ 231658 w 8382267"/>
                <a:gd name="connsiteY7" fmla="*/ 2601881 h 5250579"/>
                <a:gd name="connsiteX8" fmla="*/ 231658 w 8382267"/>
                <a:gd name="connsiteY8" fmla="*/ 5241437 h 5250579"/>
                <a:gd name="connsiteX9" fmla="*/ 15144 w 8382267"/>
                <a:gd name="connsiteY9" fmla="*/ 5241437 h 5250579"/>
                <a:gd name="connsiteX10" fmla="*/ 11739 w 8382267"/>
                <a:gd name="connsiteY10" fmla="*/ 9146 h 5250579"/>
                <a:gd name="connsiteX0" fmla="*/ 9588 w 8391690"/>
                <a:gd name="connsiteY0" fmla="*/ 0 h 5253007"/>
                <a:gd name="connsiteX1" fmla="*/ 8389079 w 8391690"/>
                <a:gd name="connsiteY1" fmla="*/ 2428 h 5253007"/>
                <a:gd name="connsiteX2" fmla="*/ 8391510 w 8391690"/>
                <a:gd name="connsiteY2" fmla="*/ 5253007 h 5253007"/>
                <a:gd name="connsiteX3" fmla="*/ 1856672 w 8391690"/>
                <a:gd name="connsiteY3" fmla="*/ 5243863 h 5253007"/>
                <a:gd name="connsiteX4" fmla="*/ 1846512 w 8391690"/>
                <a:gd name="connsiteY4" fmla="*/ 2594146 h 5253007"/>
                <a:gd name="connsiteX5" fmla="*/ 875994 w 8391690"/>
                <a:gd name="connsiteY5" fmla="*/ 2583986 h 5253007"/>
                <a:gd name="connsiteX6" fmla="*/ 845514 w 8391690"/>
                <a:gd name="connsiteY6" fmla="*/ 2583989 h 5253007"/>
                <a:gd name="connsiteX7" fmla="*/ 241081 w 8391690"/>
                <a:gd name="connsiteY7" fmla="*/ 2604309 h 5253007"/>
                <a:gd name="connsiteX8" fmla="*/ 241081 w 8391690"/>
                <a:gd name="connsiteY8" fmla="*/ 5243865 h 5253007"/>
                <a:gd name="connsiteX9" fmla="*/ 24567 w 8391690"/>
                <a:gd name="connsiteY9" fmla="*/ 5243865 h 5253007"/>
                <a:gd name="connsiteX10" fmla="*/ 9588 w 8391690"/>
                <a:gd name="connsiteY10" fmla="*/ 0 h 5253007"/>
                <a:gd name="connsiteX0" fmla="*/ 9588 w 8400829"/>
                <a:gd name="connsiteY0" fmla="*/ 20721 h 5273728"/>
                <a:gd name="connsiteX1" fmla="*/ 8400653 w 8400829"/>
                <a:gd name="connsiteY1" fmla="*/ 0 h 5273728"/>
                <a:gd name="connsiteX2" fmla="*/ 8391510 w 8400829"/>
                <a:gd name="connsiteY2" fmla="*/ 5273728 h 5273728"/>
                <a:gd name="connsiteX3" fmla="*/ 1856672 w 8400829"/>
                <a:gd name="connsiteY3" fmla="*/ 5264584 h 5273728"/>
                <a:gd name="connsiteX4" fmla="*/ 1846512 w 8400829"/>
                <a:gd name="connsiteY4" fmla="*/ 2614867 h 5273728"/>
                <a:gd name="connsiteX5" fmla="*/ 875994 w 8400829"/>
                <a:gd name="connsiteY5" fmla="*/ 2604707 h 5273728"/>
                <a:gd name="connsiteX6" fmla="*/ 845514 w 8400829"/>
                <a:gd name="connsiteY6" fmla="*/ 2604710 h 5273728"/>
                <a:gd name="connsiteX7" fmla="*/ 241081 w 8400829"/>
                <a:gd name="connsiteY7" fmla="*/ 2625030 h 5273728"/>
                <a:gd name="connsiteX8" fmla="*/ 241081 w 8400829"/>
                <a:gd name="connsiteY8" fmla="*/ 5264586 h 5273728"/>
                <a:gd name="connsiteX9" fmla="*/ 24567 w 8400829"/>
                <a:gd name="connsiteY9" fmla="*/ 5264586 h 5273728"/>
                <a:gd name="connsiteX10" fmla="*/ 9588 w 8400829"/>
                <a:gd name="connsiteY10" fmla="*/ 20721 h 5273728"/>
                <a:gd name="connsiteX0" fmla="*/ 9588 w 8423859"/>
                <a:gd name="connsiteY0" fmla="*/ 0 h 5253007"/>
                <a:gd name="connsiteX1" fmla="*/ 8423802 w 8423859"/>
                <a:gd name="connsiteY1" fmla="*/ 2429 h 5253007"/>
                <a:gd name="connsiteX2" fmla="*/ 8391510 w 8423859"/>
                <a:gd name="connsiteY2" fmla="*/ 5253007 h 5253007"/>
                <a:gd name="connsiteX3" fmla="*/ 1856672 w 8423859"/>
                <a:gd name="connsiteY3" fmla="*/ 5243863 h 5253007"/>
                <a:gd name="connsiteX4" fmla="*/ 1846512 w 8423859"/>
                <a:gd name="connsiteY4" fmla="*/ 2594146 h 5253007"/>
                <a:gd name="connsiteX5" fmla="*/ 875994 w 8423859"/>
                <a:gd name="connsiteY5" fmla="*/ 2583986 h 5253007"/>
                <a:gd name="connsiteX6" fmla="*/ 845514 w 8423859"/>
                <a:gd name="connsiteY6" fmla="*/ 2583989 h 5253007"/>
                <a:gd name="connsiteX7" fmla="*/ 241081 w 8423859"/>
                <a:gd name="connsiteY7" fmla="*/ 2604309 h 5253007"/>
                <a:gd name="connsiteX8" fmla="*/ 241081 w 8423859"/>
                <a:gd name="connsiteY8" fmla="*/ 5243865 h 5253007"/>
                <a:gd name="connsiteX9" fmla="*/ 24567 w 8423859"/>
                <a:gd name="connsiteY9" fmla="*/ 5243865 h 5253007"/>
                <a:gd name="connsiteX10" fmla="*/ 9588 w 8423859"/>
                <a:gd name="connsiteY10" fmla="*/ 0 h 5253007"/>
                <a:gd name="connsiteX0" fmla="*/ 9588 w 8423802"/>
                <a:gd name="connsiteY0" fmla="*/ 0 h 5253007"/>
                <a:gd name="connsiteX1" fmla="*/ 8423802 w 8423802"/>
                <a:gd name="connsiteY1" fmla="*/ 2429 h 5253007"/>
                <a:gd name="connsiteX2" fmla="*/ 8391510 w 8423802"/>
                <a:gd name="connsiteY2" fmla="*/ 5253007 h 5253007"/>
                <a:gd name="connsiteX3" fmla="*/ 1856672 w 8423802"/>
                <a:gd name="connsiteY3" fmla="*/ 5243863 h 5253007"/>
                <a:gd name="connsiteX4" fmla="*/ 1846512 w 8423802"/>
                <a:gd name="connsiteY4" fmla="*/ 2594146 h 5253007"/>
                <a:gd name="connsiteX5" fmla="*/ 875994 w 8423802"/>
                <a:gd name="connsiteY5" fmla="*/ 2583986 h 5253007"/>
                <a:gd name="connsiteX6" fmla="*/ 845514 w 8423802"/>
                <a:gd name="connsiteY6" fmla="*/ 2583989 h 5253007"/>
                <a:gd name="connsiteX7" fmla="*/ 241081 w 8423802"/>
                <a:gd name="connsiteY7" fmla="*/ 2604309 h 5253007"/>
                <a:gd name="connsiteX8" fmla="*/ 241081 w 8423802"/>
                <a:gd name="connsiteY8" fmla="*/ 5243865 h 5253007"/>
                <a:gd name="connsiteX9" fmla="*/ 24567 w 8423802"/>
                <a:gd name="connsiteY9" fmla="*/ 5243865 h 5253007"/>
                <a:gd name="connsiteX10" fmla="*/ 9588 w 8423802"/>
                <a:gd name="connsiteY10" fmla="*/ 0 h 5253007"/>
                <a:gd name="connsiteX0" fmla="*/ 9588 w 8423802"/>
                <a:gd name="connsiteY0" fmla="*/ 0 h 5253007"/>
                <a:gd name="connsiteX1" fmla="*/ 8423802 w 8423802"/>
                <a:gd name="connsiteY1" fmla="*/ 2429 h 5253007"/>
                <a:gd name="connsiteX2" fmla="*/ 8391510 w 8423802"/>
                <a:gd name="connsiteY2" fmla="*/ 5253007 h 5253007"/>
                <a:gd name="connsiteX3" fmla="*/ 1856672 w 8423802"/>
                <a:gd name="connsiteY3" fmla="*/ 5243863 h 5253007"/>
                <a:gd name="connsiteX4" fmla="*/ 1846512 w 8423802"/>
                <a:gd name="connsiteY4" fmla="*/ 2594146 h 5253007"/>
                <a:gd name="connsiteX5" fmla="*/ 875994 w 8423802"/>
                <a:gd name="connsiteY5" fmla="*/ 2583986 h 5253007"/>
                <a:gd name="connsiteX6" fmla="*/ 845514 w 8423802"/>
                <a:gd name="connsiteY6" fmla="*/ 2583989 h 5253007"/>
                <a:gd name="connsiteX7" fmla="*/ 241081 w 8423802"/>
                <a:gd name="connsiteY7" fmla="*/ 2604309 h 5253007"/>
                <a:gd name="connsiteX8" fmla="*/ 241081 w 8423802"/>
                <a:gd name="connsiteY8" fmla="*/ 5243865 h 5253007"/>
                <a:gd name="connsiteX9" fmla="*/ 24567 w 8423802"/>
                <a:gd name="connsiteY9" fmla="*/ 5243865 h 5253007"/>
                <a:gd name="connsiteX10" fmla="*/ 9588 w 8423802"/>
                <a:gd name="connsiteY10" fmla="*/ 0 h 5253007"/>
                <a:gd name="connsiteX0" fmla="*/ 9588 w 8400652"/>
                <a:gd name="connsiteY0" fmla="*/ 0 h 5253007"/>
                <a:gd name="connsiteX1" fmla="*/ 8400652 w 8400652"/>
                <a:gd name="connsiteY1" fmla="*/ 2429 h 5253007"/>
                <a:gd name="connsiteX2" fmla="*/ 8391510 w 8400652"/>
                <a:gd name="connsiteY2" fmla="*/ 5253007 h 5253007"/>
                <a:gd name="connsiteX3" fmla="*/ 1856672 w 8400652"/>
                <a:gd name="connsiteY3" fmla="*/ 5243863 h 5253007"/>
                <a:gd name="connsiteX4" fmla="*/ 1846512 w 8400652"/>
                <a:gd name="connsiteY4" fmla="*/ 2594146 h 5253007"/>
                <a:gd name="connsiteX5" fmla="*/ 875994 w 8400652"/>
                <a:gd name="connsiteY5" fmla="*/ 2583986 h 5253007"/>
                <a:gd name="connsiteX6" fmla="*/ 845514 w 8400652"/>
                <a:gd name="connsiteY6" fmla="*/ 2583989 h 5253007"/>
                <a:gd name="connsiteX7" fmla="*/ 241081 w 8400652"/>
                <a:gd name="connsiteY7" fmla="*/ 2604309 h 5253007"/>
                <a:gd name="connsiteX8" fmla="*/ 241081 w 8400652"/>
                <a:gd name="connsiteY8" fmla="*/ 5243865 h 5253007"/>
                <a:gd name="connsiteX9" fmla="*/ 24567 w 8400652"/>
                <a:gd name="connsiteY9" fmla="*/ 5243865 h 5253007"/>
                <a:gd name="connsiteX10" fmla="*/ 9588 w 8400652"/>
                <a:gd name="connsiteY10" fmla="*/ 0 h 5253007"/>
                <a:gd name="connsiteX0" fmla="*/ 9588 w 8403100"/>
                <a:gd name="connsiteY0" fmla="*/ 0 h 5243865"/>
                <a:gd name="connsiteX1" fmla="*/ 8400652 w 8403100"/>
                <a:gd name="connsiteY1" fmla="*/ 2429 h 5243865"/>
                <a:gd name="connsiteX2" fmla="*/ 8403085 w 8403100"/>
                <a:gd name="connsiteY2" fmla="*/ 5241432 h 5243865"/>
                <a:gd name="connsiteX3" fmla="*/ 1856672 w 8403100"/>
                <a:gd name="connsiteY3" fmla="*/ 5243863 h 5243865"/>
                <a:gd name="connsiteX4" fmla="*/ 1846512 w 8403100"/>
                <a:gd name="connsiteY4" fmla="*/ 2594146 h 5243865"/>
                <a:gd name="connsiteX5" fmla="*/ 875994 w 8403100"/>
                <a:gd name="connsiteY5" fmla="*/ 2583986 h 5243865"/>
                <a:gd name="connsiteX6" fmla="*/ 845514 w 8403100"/>
                <a:gd name="connsiteY6" fmla="*/ 2583989 h 5243865"/>
                <a:gd name="connsiteX7" fmla="*/ 241081 w 8403100"/>
                <a:gd name="connsiteY7" fmla="*/ 2604309 h 5243865"/>
                <a:gd name="connsiteX8" fmla="*/ 241081 w 8403100"/>
                <a:gd name="connsiteY8" fmla="*/ 5243865 h 5243865"/>
                <a:gd name="connsiteX9" fmla="*/ 24567 w 8403100"/>
                <a:gd name="connsiteY9" fmla="*/ 5243865 h 5243865"/>
                <a:gd name="connsiteX10" fmla="*/ 9588 w 8403100"/>
                <a:gd name="connsiteY10" fmla="*/ 0 h 5243865"/>
                <a:gd name="connsiteX0" fmla="*/ 9588 w 8405697"/>
                <a:gd name="connsiteY0" fmla="*/ 0 h 5243865"/>
                <a:gd name="connsiteX1" fmla="*/ 8400652 w 8405697"/>
                <a:gd name="connsiteY1" fmla="*/ 2429 h 5243865"/>
                <a:gd name="connsiteX2" fmla="*/ 8403085 w 8405697"/>
                <a:gd name="connsiteY2" fmla="*/ 5241432 h 5243865"/>
                <a:gd name="connsiteX3" fmla="*/ 1856672 w 8405697"/>
                <a:gd name="connsiteY3" fmla="*/ 5243863 h 5243865"/>
                <a:gd name="connsiteX4" fmla="*/ 1846512 w 8405697"/>
                <a:gd name="connsiteY4" fmla="*/ 2594146 h 5243865"/>
                <a:gd name="connsiteX5" fmla="*/ 875994 w 8405697"/>
                <a:gd name="connsiteY5" fmla="*/ 2583986 h 5243865"/>
                <a:gd name="connsiteX6" fmla="*/ 845514 w 8405697"/>
                <a:gd name="connsiteY6" fmla="*/ 2583989 h 5243865"/>
                <a:gd name="connsiteX7" fmla="*/ 241081 w 8405697"/>
                <a:gd name="connsiteY7" fmla="*/ 2604309 h 5243865"/>
                <a:gd name="connsiteX8" fmla="*/ 241081 w 8405697"/>
                <a:gd name="connsiteY8" fmla="*/ 5243865 h 5243865"/>
                <a:gd name="connsiteX9" fmla="*/ 24567 w 8405697"/>
                <a:gd name="connsiteY9" fmla="*/ 5243865 h 5243865"/>
                <a:gd name="connsiteX10" fmla="*/ 9588 w 8405697"/>
                <a:gd name="connsiteY10" fmla="*/ 0 h 5243865"/>
                <a:gd name="connsiteX0" fmla="*/ 9588 w 8405697"/>
                <a:gd name="connsiteY0" fmla="*/ 0 h 5253007"/>
                <a:gd name="connsiteX1" fmla="*/ 8400652 w 8405697"/>
                <a:gd name="connsiteY1" fmla="*/ 2429 h 5253007"/>
                <a:gd name="connsiteX2" fmla="*/ 8403085 w 8405697"/>
                <a:gd name="connsiteY2" fmla="*/ 5253007 h 5253007"/>
                <a:gd name="connsiteX3" fmla="*/ 1856672 w 8405697"/>
                <a:gd name="connsiteY3" fmla="*/ 5243863 h 5253007"/>
                <a:gd name="connsiteX4" fmla="*/ 1846512 w 8405697"/>
                <a:gd name="connsiteY4" fmla="*/ 2594146 h 5253007"/>
                <a:gd name="connsiteX5" fmla="*/ 875994 w 8405697"/>
                <a:gd name="connsiteY5" fmla="*/ 2583986 h 5253007"/>
                <a:gd name="connsiteX6" fmla="*/ 845514 w 8405697"/>
                <a:gd name="connsiteY6" fmla="*/ 2583989 h 5253007"/>
                <a:gd name="connsiteX7" fmla="*/ 241081 w 8405697"/>
                <a:gd name="connsiteY7" fmla="*/ 2604309 h 5253007"/>
                <a:gd name="connsiteX8" fmla="*/ 241081 w 8405697"/>
                <a:gd name="connsiteY8" fmla="*/ 5243865 h 5253007"/>
                <a:gd name="connsiteX9" fmla="*/ 24567 w 8405697"/>
                <a:gd name="connsiteY9" fmla="*/ 5243865 h 5253007"/>
                <a:gd name="connsiteX10" fmla="*/ 9588 w 8405697"/>
                <a:gd name="connsiteY10" fmla="*/ 0 h 5253007"/>
                <a:gd name="connsiteX0" fmla="*/ 0 w 8396109"/>
                <a:gd name="connsiteY0" fmla="*/ 0 h 5253007"/>
                <a:gd name="connsiteX1" fmla="*/ 8391064 w 8396109"/>
                <a:gd name="connsiteY1" fmla="*/ 2429 h 5253007"/>
                <a:gd name="connsiteX2" fmla="*/ 8393497 w 8396109"/>
                <a:gd name="connsiteY2" fmla="*/ 5253007 h 5253007"/>
                <a:gd name="connsiteX3" fmla="*/ 1847084 w 8396109"/>
                <a:gd name="connsiteY3" fmla="*/ 5243863 h 5253007"/>
                <a:gd name="connsiteX4" fmla="*/ 1836924 w 8396109"/>
                <a:gd name="connsiteY4" fmla="*/ 2594146 h 5253007"/>
                <a:gd name="connsiteX5" fmla="*/ 866406 w 8396109"/>
                <a:gd name="connsiteY5" fmla="*/ 2583986 h 5253007"/>
                <a:gd name="connsiteX6" fmla="*/ 835926 w 8396109"/>
                <a:gd name="connsiteY6" fmla="*/ 2583989 h 5253007"/>
                <a:gd name="connsiteX7" fmla="*/ 231493 w 8396109"/>
                <a:gd name="connsiteY7" fmla="*/ 2604309 h 5253007"/>
                <a:gd name="connsiteX8" fmla="*/ 231493 w 8396109"/>
                <a:gd name="connsiteY8" fmla="*/ 5243865 h 5253007"/>
                <a:gd name="connsiteX9" fmla="*/ 14979 w 8396109"/>
                <a:gd name="connsiteY9" fmla="*/ 5243865 h 5253007"/>
                <a:gd name="connsiteX10" fmla="*/ 0 w 8396109"/>
                <a:gd name="connsiteY10" fmla="*/ 0 h 5253007"/>
                <a:gd name="connsiteX0" fmla="*/ 0 w 8396109"/>
                <a:gd name="connsiteY0" fmla="*/ 0 h 5253007"/>
                <a:gd name="connsiteX1" fmla="*/ 8391064 w 8396109"/>
                <a:gd name="connsiteY1" fmla="*/ 2429 h 5253007"/>
                <a:gd name="connsiteX2" fmla="*/ 8393497 w 8396109"/>
                <a:gd name="connsiteY2" fmla="*/ 5253007 h 5253007"/>
                <a:gd name="connsiteX3" fmla="*/ 1847084 w 8396109"/>
                <a:gd name="connsiteY3" fmla="*/ 5243863 h 5253007"/>
                <a:gd name="connsiteX4" fmla="*/ 1836924 w 8396109"/>
                <a:gd name="connsiteY4" fmla="*/ 2594146 h 5253007"/>
                <a:gd name="connsiteX5" fmla="*/ 866406 w 8396109"/>
                <a:gd name="connsiteY5" fmla="*/ 2583986 h 5253007"/>
                <a:gd name="connsiteX6" fmla="*/ 835926 w 8396109"/>
                <a:gd name="connsiteY6" fmla="*/ 2583989 h 5253007"/>
                <a:gd name="connsiteX7" fmla="*/ 231493 w 8396109"/>
                <a:gd name="connsiteY7" fmla="*/ 2604309 h 5253007"/>
                <a:gd name="connsiteX8" fmla="*/ 231493 w 8396109"/>
                <a:gd name="connsiteY8" fmla="*/ 5243865 h 5253007"/>
                <a:gd name="connsiteX9" fmla="*/ 14979 w 8396109"/>
                <a:gd name="connsiteY9" fmla="*/ 5243865 h 5253007"/>
                <a:gd name="connsiteX10" fmla="*/ 0 w 8396109"/>
                <a:gd name="connsiteY10" fmla="*/ 0 h 525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96109" h="5253007">
                  <a:moveTo>
                    <a:pt x="0" y="0"/>
                  </a:moveTo>
                  <a:lnTo>
                    <a:pt x="8391064" y="2429"/>
                  </a:lnTo>
                  <a:cubicBezTo>
                    <a:pt x="8369534" y="1940871"/>
                    <a:pt x="8405786" y="3372438"/>
                    <a:pt x="8393497" y="5253007"/>
                  </a:cubicBezTo>
                  <a:lnTo>
                    <a:pt x="1847084" y="5243863"/>
                  </a:lnTo>
                  <a:cubicBezTo>
                    <a:pt x="1843697" y="4360624"/>
                    <a:pt x="1840311" y="3477385"/>
                    <a:pt x="1836924" y="2594146"/>
                  </a:cubicBezTo>
                  <a:lnTo>
                    <a:pt x="866406" y="2583986"/>
                  </a:lnTo>
                  <a:lnTo>
                    <a:pt x="835926" y="2583989"/>
                  </a:lnTo>
                  <a:lnTo>
                    <a:pt x="231493" y="2604309"/>
                  </a:lnTo>
                  <a:lnTo>
                    <a:pt x="231493" y="5243865"/>
                  </a:lnTo>
                  <a:lnTo>
                    <a:pt x="14979" y="5243865"/>
                  </a:lnTo>
                  <a:cubicBezTo>
                    <a:pt x="14979" y="4371817"/>
                    <a:pt x="18028" y="1174515"/>
                    <a:pt x="0" y="0"/>
                  </a:cubicBezTo>
                  <a:close/>
                </a:path>
              </a:pathLst>
            </a:custGeom>
            <a:solidFill>
              <a:schemeClr val="tx1">
                <a:lumMod val="85000"/>
                <a:lumOff val="1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yellow highlight">
              <a:extLst>
                <a:ext uri="{FF2B5EF4-FFF2-40B4-BE49-F238E27FC236}">
                  <a16:creationId xmlns:a16="http://schemas.microsoft.com/office/drawing/2014/main" id="{5EC5AB02-BD3B-0844-8D45-B7589484162B}"/>
                </a:ext>
              </a:extLst>
            </p:cNvPr>
            <p:cNvSpPr/>
            <p:nvPr/>
          </p:nvSpPr>
          <p:spPr>
            <a:xfrm>
              <a:off x="1979007" y="3995635"/>
              <a:ext cx="1612793" cy="2660264"/>
            </a:xfrm>
            <a:prstGeom prst="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2695657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subTnLst>
                                    <p:set>
                                      <p:cBhvr override="childStyle">
                                        <p:cTn dur="1" fill="hold" display="0" masterRel="nextClick" afterEffect="1"/>
                                        <p:tgtEl>
                                          <p:spTgt spid="40"/>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subTnLst>
                                    <p:set>
                                      <p:cBhvr override="childStyle">
                                        <p:cTn dur="1" fill="hold" display="0" masterRel="nextClick" afterEffect="1"/>
                                        <p:tgtEl>
                                          <p:spTgt spid="48"/>
                                        </p:tgtEl>
                                        <p:attrNameLst>
                                          <p:attrName>style.visibility</p:attrName>
                                        </p:attrNameLst>
                                      </p:cBhvr>
                                      <p:to>
                                        <p:strVal val="hidden"/>
                                      </p:to>
                                    </p:set>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2"/>
                                        </p:tgtEl>
                                        <p:attrNameLst>
                                          <p:attrName>style.visibility</p:attrName>
                                        </p:attrNameLst>
                                      </p:cBhvr>
                                      <p:to>
                                        <p:strVal val="visible"/>
                                      </p:to>
                                    </p:set>
                                    <p:animEffect transition="in" filter="fade">
                                      <p:cBhvr>
                                        <p:cTn id="22" dur="500"/>
                                        <p:tgtEl>
                                          <p:spTgt spid="52"/>
                                        </p:tgtEl>
                                      </p:cBhvr>
                                    </p:animEffect>
                                  </p:childTnLst>
                                  <p:subTnLst>
                                    <p:set>
                                      <p:cBhvr override="childStyle">
                                        <p:cTn dur="1" fill="hold" display="0" masterRel="nextClick" afterEffect="1"/>
                                        <p:tgtEl>
                                          <p:spTgt spid="52"/>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6"/>
                                        </p:tgtEl>
                                        <p:attrNameLst>
                                          <p:attrName>style.visibility</p:attrName>
                                        </p:attrNameLst>
                                      </p:cBhvr>
                                      <p:to>
                                        <p:strVal val="visible"/>
                                      </p:to>
                                    </p:set>
                                    <p:animEffect transition="in" filter="fade">
                                      <p:cBhvr>
                                        <p:cTn id="27" dur="500"/>
                                        <p:tgtEl>
                                          <p:spTgt spid="56"/>
                                        </p:tgtEl>
                                      </p:cBhvr>
                                    </p:animEffect>
                                  </p:childTnLst>
                                  <p:subTnLst>
                                    <p:set>
                                      <p:cBhvr override="childStyle">
                                        <p:cTn dur="1" fill="hold" display="0" masterRel="nextClick" afterEffect="1"/>
                                        <p:tgtEl>
                                          <p:spTgt spid="56"/>
                                        </p:tgtEl>
                                        <p:attrNameLst>
                                          <p:attrName>style.visibility</p:attrName>
                                        </p:attrNameLst>
                                      </p:cBhvr>
                                      <p:to>
                                        <p:strVal val="hidden"/>
                                      </p:to>
                                    </p:set>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7"/>
                                        </p:tgtEl>
                                        <p:attrNameLst>
                                          <p:attrName>style.visibility</p:attrName>
                                        </p:attrNameLst>
                                      </p:cBhvr>
                                      <p:to>
                                        <p:strVal val="visible"/>
                                      </p:to>
                                    </p:set>
                                    <p:animEffect transition="in" filter="fade">
                                      <p:cBhvr>
                                        <p:cTn id="32" dur="500"/>
                                        <p:tgtEl>
                                          <p:spTgt spid="57"/>
                                        </p:tgtEl>
                                      </p:cBhvr>
                                    </p:animEffect>
                                  </p:childTnLst>
                                  <p:subTnLst>
                                    <p:set>
                                      <p:cBhvr override="childStyle">
                                        <p:cTn dur="1" fill="hold" display="0" masterRel="nextClick" afterEffect="1"/>
                                        <p:tgtEl>
                                          <p:spTgt spid="57"/>
                                        </p:tgtEl>
                                        <p:attrNameLst>
                                          <p:attrName>style.visibility</p:attrName>
                                        </p:attrNameLst>
                                      </p:cBhvr>
                                      <p:to>
                                        <p:strVal val="hidden"/>
                                      </p:to>
                                    </p:set>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76"/>
                                        </p:tgtEl>
                                        <p:attrNameLst>
                                          <p:attrName>style.visibility</p:attrName>
                                        </p:attrNameLst>
                                      </p:cBhvr>
                                      <p:to>
                                        <p:strVal val="visible"/>
                                      </p:to>
                                    </p:set>
                                    <p:animEffect transition="in" filter="fade">
                                      <p:cBhvr>
                                        <p:cTn id="37" dur="500"/>
                                        <p:tgtEl>
                                          <p:spTgt spid="76"/>
                                        </p:tgtEl>
                                      </p:cBhvr>
                                    </p:animEffect>
                                  </p:childTnLst>
                                  <p:subTnLst>
                                    <p:set>
                                      <p:cBhvr override="childStyle">
                                        <p:cTn dur="1" fill="hold" display="0" masterRel="nextClick" afterEffect="1"/>
                                        <p:tgtEl>
                                          <p:spTgt spid="76"/>
                                        </p:tgtEl>
                                        <p:attrNameLst>
                                          <p:attrName>style.visibility</p:attrName>
                                        </p:attrNameLst>
                                      </p:cBhvr>
                                      <p:to>
                                        <p:strVal val="hidden"/>
                                      </p:to>
                                    </p:set>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77"/>
                                        </p:tgtEl>
                                        <p:attrNameLst>
                                          <p:attrName>style.visibility</p:attrName>
                                        </p:attrNameLst>
                                      </p:cBhvr>
                                      <p:to>
                                        <p:strVal val="visible"/>
                                      </p:to>
                                    </p:set>
                                    <p:animEffect transition="in" filter="fade">
                                      <p:cBhvr>
                                        <p:cTn id="42" dur="500"/>
                                        <p:tgtEl>
                                          <p:spTgt spid="77"/>
                                        </p:tgtEl>
                                      </p:cBhvr>
                                    </p:animEffect>
                                  </p:childTnLst>
                                  <p:subTnLst>
                                    <p:set>
                                      <p:cBhvr override="childStyle">
                                        <p:cTn dur="1" fill="hold" display="0" masterRel="nextClick" afterEffect="1"/>
                                        <p:tgtEl>
                                          <p:spTgt spid="77"/>
                                        </p:tgtEl>
                                        <p:attrNameLst>
                                          <p:attrName>style.visibility</p:attrName>
                                        </p:attrNameLst>
                                      </p:cBhvr>
                                      <p:to>
                                        <p:strVal val="hidden"/>
                                      </p:to>
                                    </p:set>
                                  </p:sub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86"/>
                                        </p:tgtEl>
                                        <p:attrNameLst>
                                          <p:attrName>style.visibility</p:attrName>
                                        </p:attrNameLst>
                                      </p:cBhvr>
                                      <p:to>
                                        <p:strVal val="visible"/>
                                      </p:to>
                                    </p:set>
                                    <p:animEffect transition="in" filter="fade">
                                      <p:cBhvr>
                                        <p:cTn id="47" dur="500"/>
                                        <p:tgtEl>
                                          <p:spTgt spid="86"/>
                                        </p:tgtEl>
                                      </p:cBhvr>
                                    </p:animEffect>
                                  </p:childTnLst>
                                  <p:subTnLst>
                                    <p:set>
                                      <p:cBhvr override="childStyle">
                                        <p:cTn dur="1" fill="hold" display="0" masterRel="nextClick" afterEffect="1"/>
                                        <p:tgtEl>
                                          <p:spTgt spid="86"/>
                                        </p:tgtEl>
                                        <p:attrNameLst>
                                          <p:attrName>style.visibility</p:attrName>
                                        </p:attrNameLst>
                                      </p:cBhvr>
                                      <p:to>
                                        <p:strVal val="hidden"/>
                                      </p:to>
                                    </p:set>
                                  </p:sub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87"/>
                                        </p:tgtEl>
                                        <p:attrNameLst>
                                          <p:attrName>style.visibility</p:attrName>
                                        </p:attrNameLst>
                                      </p:cBhvr>
                                      <p:to>
                                        <p:strVal val="visible"/>
                                      </p:to>
                                    </p:set>
                                    <p:animEffect transition="in" filter="fade">
                                      <p:cBhvr>
                                        <p:cTn id="52"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0621BF5-1505-3C4C-A5FE-903CC55DDF30}"/>
              </a:ext>
            </a:extLst>
          </p:cNvPr>
          <p:cNvSpPr>
            <a:spLocks noGrp="1"/>
          </p:cNvSpPr>
          <p:nvPr>
            <p:ph type="body" sz="quarter" idx="14"/>
          </p:nvPr>
        </p:nvSpPr>
        <p:spPr/>
        <p:txBody>
          <a:bodyPr/>
          <a:lstStyle/>
          <a:p>
            <a:r>
              <a:rPr lang="en-US"/>
              <a:t>Web UI with highlight</a:t>
            </a:r>
          </a:p>
        </p:txBody>
      </p:sp>
      <p:sp>
        <p:nvSpPr>
          <p:cNvPr id="18" name="Blue header">
            <a:extLst>
              <a:ext uri="{FF2B5EF4-FFF2-40B4-BE49-F238E27FC236}">
                <a16:creationId xmlns:a16="http://schemas.microsoft.com/office/drawing/2014/main" id="{344ED62C-7FBB-7C4E-B9DD-D0B37B640184}"/>
              </a:ext>
            </a:extLst>
          </p:cNvPr>
          <p:cNvSpPr/>
          <p:nvPr/>
        </p:nvSpPr>
        <p:spPr>
          <a:xfrm>
            <a:off x="0" y="0"/>
            <a:ext cx="12192000" cy="1169043"/>
          </a:xfrm>
          <a:prstGeom prst="rect">
            <a:avLst/>
          </a:prstGeom>
          <a:solidFill>
            <a:srgbClr val="1B74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2">
            <a:extLst>
              <a:ext uri="{FF2B5EF4-FFF2-40B4-BE49-F238E27FC236}">
                <a16:creationId xmlns:a16="http://schemas.microsoft.com/office/drawing/2014/main" id="{ED772027-5015-4946-921A-7B97EF750A71}"/>
              </a:ext>
            </a:extLst>
          </p:cNvPr>
          <p:cNvSpPr txBox="1">
            <a:spLocks/>
          </p:cNvSpPr>
          <p:nvPr/>
        </p:nvSpPr>
        <p:spPr>
          <a:xfrm>
            <a:off x="838199" y="29496"/>
            <a:ext cx="10061575" cy="1139547"/>
          </a:xfrm>
          <a:prstGeom prst="rect">
            <a:avLst/>
          </a:prstGeom>
        </p:spPr>
        <p:txBody>
          <a:bodyPr lIns="0" rIns="0" anchor="ctr"/>
          <a:lstStyle>
            <a:lvl1pPr marL="0" indent="0" algn="l" defTabSz="914400" rtl="0" eaLnBrk="1" latinLnBrk="0" hangingPunct="1">
              <a:lnSpc>
                <a:spcPct val="90000"/>
              </a:lnSpc>
              <a:spcBef>
                <a:spcPts val="1000"/>
              </a:spcBef>
              <a:buFontTx/>
              <a:buNone/>
              <a:defRPr sz="3600" b="1" i="0" kern="1200">
                <a:solidFill>
                  <a:schemeClr val="bg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Things to Do</a:t>
            </a:r>
          </a:p>
        </p:txBody>
      </p:sp>
      <p:sp>
        <p:nvSpPr>
          <p:cNvPr id="9" name="Content Placeholder 1">
            <a:extLst>
              <a:ext uri="{FF2B5EF4-FFF2-40B4-BE49-F238E27FC236}">
                <a16:creationId xmlns:a16="http://schemas.microsoft.com/office/drawing/2014/main" id="{85EE1C58-795A-41D4-9264-9E67808ED0F6}"/>
              </a:ext>
            </a:extLst>
          </p:cNvPr>
          <p:cNvSpPr txBox="1">
            <a:spLocks/>
          </p:cNvSpPr>
          <p:nvPr/>
        </p:nvSpPr>
        <p:spPr>
          <a:xfrm>
            <a:off x="457200" y="1571861"/>
            <a:ext cx="6172200" cy="4389438"/>
          </a:xfrm>
          <a:prstGeom prst="rect">
            <a:avLst/>
          </a:prstGeom>
        </p:spPr>
        <p:txBody>
          <a:bodyPr/>
          <a:lstStyle>
            <a:lvl1pPr marL="0" indent="0" algn="l" defTabSz="914225" rtl="0" eaLnBrk="1" latinLnBrk="0" hangingPunct="1">
              <a:spcBef>
                <a:spcPts val="1765"/>
              </a:spcBef>
              <a:spcAft>
                <a:spcPts val="0"/>
              </a:spcAft>
              <a:buFont typeface="Arial" panose="020B0604020202020204" pitchFamily="34" charset="0"/>
              <a:buNone/>
              <a:defRPr sz="2745" kern="1200" baseline="0">
                <a:gradFill>
                  <a:gsLst>
                    <a:gs pos="2917">
                      <a:srgbClr val="0078D7"/>
                    </a:gs>
                    <a:gs pos="100000">
                      <a:srgbClr val="0078D7">
                        <a:alpha val="99000"/>
                      </a:srgbClr>
                    </a:gs>
                  </a:gsLst>
                  <a:lin ang="5400000" scaled="0"/>
                </a:gradFill>
                <a:latin typeface="Segoe UI Semibold" panose="020B0702040204020203" pitchFamily="34" charset="0"/>
                <a:ea typeface="+mn-ea"/>
                <a:cs typeface="Segoe UI Semibold" panose="020B0702040204020203" pitchFamily="34" charset="0"/>
              </a:defRPr>
            </a:lvl1pPr>
            <a:lvl2pPr marL="0" indent="0" algn="l" defTabSz="914225" rtl="0" eaLnBrk="1" latinLnBrk="0" hangingPunct="1">
              <a:spcBef>
                <a:spcPts val="588"/>
              </a:spcBef>
              <a:spcAft>
                <a:spcPts val="588"/>
              </a:spcAft>
              <a:buClr>
                <a:schemeClr val="bg1">
                  <a:lumMod val="65000"/>
                </a:schemeClr>
              </a:buClr>
              <a:buFont typeface="Arial" panose="020B0604020202020204" pitchFamily="34" charset="0"/>
              <a:buNone/>
              <a:defRPr sz="2353" kern="1200">
                <a:gradFill>
                  <a:gsLst>
                    <a:gs pos="2917">
                      <a:schemeClr val="tx1">
                        <a:lumMod val="75000"/>
                        <a:alpha val="99000"/>
                      </a:schemeClr>
                    </a:gs>
                    <a:gs pos="100000">
                      <a:schemeClr val="tx1">
                        <a:lumMod val="75000"/>
                      </a:schemeClr>
                    </a:gs>
                  </a:gsLst>
                  <a:lin ang="5400000" scaled="0"/>
                </a:gradFill>
                <a:latin typeface="+mn-lt"/>
                <a:ea typeface="+mn-ea"/>
                <a:cs typeface="+mn-cs"/>
              </a:defRPr>
            </a:lvl2pPr>
            <a:lvl3pPr marL="224097" indent="-220984" algn="l" defTabSz="914225" rtl="0" eaLnBrk="1" latinLnBrk="0" hangingPunct="1">
              <a:spcBef>
                <a:spcPts val="0"/>
              </a:spcBef>
              <a:spcAft>
                <a:spcPts val="588"/>
              </a:spcAft>
              <a:buClr>
                <a:srgbClr val="0078D7"/>
              </a:buClr>
              <a:buFont typeface="Arial" panose="020B0604020202020204" pitchFamily="34" charset="0"/>
              <a:buChar char="•"/>
              <a:defRPr sz="2353" kern="1200">
                <a:gradFill>
                  <a:gsLst>
                    <a:gs pos="2917">
                      <a:schemeClr val="tx1">
                        <a:lumMod val="75000"/>
                        <a:alpha val="99000"/>
                      </a:schemeClr>
                    </a:gs>
                    <a:gs pos="100000">
                      <a:schemeClr val="tx1">
                        <a:lumMod val="75000"/>
                      </a:schemeClr>
                    </a:gs>
                  </a:gsLst>
                  <a:lin ang="5400000" scaled="0"/>
                </a:gradFill>
                <a:latin typeface="+mn-lt"/>
                <a:ea typeface="+mn-ea"/>
                <a:cs typeface="+mn-cs"/>
              </a:defRPr>
            </a:lvl3pPr>
            <a:lvl4pPr marL="557129" indent="-333032" algn="l" defTabSz="914225" rtl="0" eaLnBrk="1" latinLnBrk="0" hangingPunct="1">
              <a:spcBef>
                <a:spcPts val="0"/>
              </a:spcBef>
              <a:spcAft>
                <a:spcPts val="784"/>
              </a:spcAft>
              <a:buClr>
                <a:srgbClr val="0078D7"/>
              </a:buClr>
              <a:buFont typeface="Segoe UI Symbol" panose="020B0502040204020203" pitchFamily="34" charset="0"/>
              <a:buChar char=""/>
              <a:defRPr sz="1961" kern="1200">
                <a:gradFill>
                  <a:gsLst>
                    <a:gs pos="2917">
                      <a:schemeClr val="tx1">
                        <a:lumMod val="75000"/>
                        <a:alpha val="99000"/>
                      </a:schemeClr>
                    </a:gs>
                    <a:gs pos="100000">
                      <a:schemeClr val="tx1">
                        <a:lumMod val="75000"/>
                      </a:schemeClr>
                    </a:gs>
                  </a:gsLst>
                  <a:lin ang="5400000" scaled="0"/>
                </a:gradFill>
                <a:latin typeface="+mn-lt"/>
                <a:ea typeface="+mn-ea"/>
                <a:cs typeface="+mn-cs"/>
              </a:defRPr>
            </a:lvl4pPr>
            <a:lvl5pPr marL="784338" indent="-222541" algn="l" defTabSz="914225" rtl="0" eaLnBrk="1" latinLnBrk="0" hangingPunct="1">
              <a:spcBef>
                <a:spcPts val="0"/>
              </a:spcBef>
              <a:spcAft>
                <a:spcPts val="784"/>
              </a:spcAft>
              <a:buClr>
                <a:srgbClr val="0078D7"/>
              </a:buClr>
              <a:buFont typeface="Arial" panose="020B0604020202020204" pitchFamily="34" charset="0"/>
              <a:buChar char="+"/>
              <a:defRPr sz="1961" kern="1200" baseline="0">
                <a:gradFill>
                  <a:gsLst>
                    <a:gs pos="2917">
                      <a:schemeClr val="tx1">
                        <a:lumMod val="75000"/>
                        <a:alpha val="99000"/>
                      </a:schemeClr>
                    </a:gs>
                    <a:gs pos="100000">
                      <a:schemeClr val="tx1">
                        <a:lumMod val="75000"/>
                      </a:schemeClr>
                    </a:gs>
                  </a:gsLst>
                  <a:lin ang="5400000" scaled="0"/>
                </a:gradFill>
                <a:latin typeface="+mn-lt"/>
                <a:ea typeface="+mn-ea"/>
                <a:cs typeface="+mn-cs"/>
              </a:defRPr>
            </a:lvl5pPr>
            <a:lvl6pPr marL="1064459" indent="-277008" algn="l" defTabSz="914225" rtl="0" eaLnBrk="1" latinLnBrk="0" hangingPunct="1">
              <a:spcBef>
                <a:spcPts val="0"/>
              </a:spcBef>
              <a:buClr>
                <a:schemeClr val="tx2"/>
              </a:buClr>
              <a:buFont typeface="+mj-lt"/>
              <a:buAutoNum type="alphaLcPeriod"/>
              <a:defRPr sz="1961" kern="1200">
                <a:solidFill>
                  <a:schemeClr val="tx1"/>
                </a:solidFill>
                <a:latin typeface="+mn-lt"/>
                <a:ea typeface="+mn-ea"/>
                <a:cs typeface="+mn-cs"/>
              </a:defRPr>
            </a:lvl6pPr>
            <a:lvl7pPr marL="2971230" indent="-228556" algn="l" defTabSz="9142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base">
              <a:spcAft>
                <a:spcPts val="600"/>
              </a:spcAft>
              <a:buClr>
                <a:schemeClr val="tx1"/>
              </a:buClr>
            </a:pPr>
            <a:r>
              <a:rPr lang="en-US" sz="3200" b="1" dirty="0">
                <a:solidFill>
                  <a:schemeClr val="tx1">
                    <a:lumMod val="50000"/>
                  </a:schemeClr>
                </a:solidFill>
                <a:latin typeface="+mn-lt"/>
              </a:rPr>
              <a:t>Explore</a:t>
            </a:r>
          </a:p>
          <a:p>
            <a:pPr marL="342900" indent="-342900" fontAlgn="base">
              <a:spcAft>
                <a:spcPts val="600"/>
              </a:spcAft>
              <a:buClr>
                <a:schemeClr val="tx1"/>
              </a:buClr>
              <a:buFont typeface="Wingdings" panose="05000000000000000000" pitchFamily="2" charset="2"/>
              <a:buChar char="ü"/>
            </a:pPr>
            <a:r>
              <a:rPr lang="en-US" sz="2400" dirty="0">
                <a:solidFill>
                  <a:schemeClr val="tx1">
                    <a:lumMod val="50000"/>
                  </a:schemeClr>
                </a:solidFill>
                <a:latin typeface="+mn-lt"/>
              </a:rPr>
              <a:t>Wake up a Class Notebook.</a:t>
            </a:r>
          </a:p>
          <a:p>
            <a:pPr marL="342900" indent="-342900" fontAlgn="base">
              <a:spcAft>
                <a:spcPts val="600"/>
              </a:spcAft>
              <a:buClr>
                <a:schemeClr val="tx1"/>
              </a:buClr>
              <a:buFont typeface="Wingdings" panose="05000000000000000000" pitchFamily="2" charset="2"/>
              <a:buChar char="ü"/>
            </a:pPr>
            <a:r>
              <a:rPr lang="en-US" sz="2400" dirty="0">
                <a:solidFill>
                  <a:schemeClr val="tx1">
                    <a:lumMod val="50000"/>
                  </a:schemeClr>
                </a:solidFill>
                <a:latin typeface="+mn-lt"/>
              </a:rPr>
              <a:t>Create a Teacher Only section.</a:t>
            </a:r>
          </a:p>
          <a:p>
            <a:pPr marL="342900" indent="-342900" fontAlgn="base">
              <a:spcAft>
                <a:spcPts val="600"/>
              </a:spcAft>
              <a:buClr>
                <a:schemeClr val="tx1"/>
              </a:buClr>
              <a:buFont typeface="Wingdings" panose="05000000000000000000" pitchFamily="2" charset="2"/>
              <a:buChar char="ü"/>
            </a:pPr>
            <a:r>
              <a:rPr lang="en-US" sz="2400" dirty="0">
                <a:solidFill>
                  <a:schemeClr val="tx1">
                    <a:lumMod val="50000"/>
                  </a:schemeClr>
                </a:solidFill>
                <a:latin typeface="+mn-lt"/>
              </a:rPr>
              <a:t>Explore the canvas and its </a:t>
            </a:r>
            <a:br>
              <a:rPr lang="en-US" sz="2400" dirty="0">
                <a:solidFill>
                  <a:schemeClr val="tx1">
                    <a:lumMod val="50000"/>
                  </a:schemeClr>
                </a:solidFill>
                <a:latin typeface="+mn-lt"/>
              </a:rPr>
            </a:br>
            <a:r>
              <a:rPr lang="en-US" sz="2400" dirty="0">
                <a:solidFill>
                  <a:schemeClr val="tx1">
                    <a:lumMod val="50000"/>
                  </a:schemeClr>
                </a:solidFill>
                <a:latin typeface="+mn-lt"/>
              </a:rPr>
              <a:t>features.</a:t>
            </a:r>
          </a:p>
          <a:p>
            <a:pPr marL="342900" indent="-342900" fontAlgn="base">
              <a:spcAft>
                <a:spcPts val="600"/>
              </a:spcAft>
              <a:buClr>
                <a:schemeClr val="tx1"/>
              </a:buClr>
              <a:buFont typeface="Wingdings" panose="05000000000000000000" pitchFamily="2" charset="2"/>
              <a:buChar char="ü"/>
            </a:pPr>
            <a:r>
              <a:rPr lang="en-US" sz="2400" dirty="0">
                <a:solidFill>
                  <a:schemeClr val="tx1">
                    <a:lumMod val="50000"/>
                  </a:schemeClr>
                </a:solidFill>
                <a:latin typeface="+mn-lt"/>
              </a:rPr>
              <a:t>Possibilities include: tables, </a:t>
            </a:r>
            <a:br>
              <a:rPr lang="en-US" sz="2400" dirty="0">
                <a:solidFill>
                  <a:schemeClr val="tx1">
                    <a:lumMod val="50000"/>
                  </a:schemeClr>
                </a:solidFill>
                <a:latin typeface="+mn-lt"/>
              </a:rPr>
            </a:br>
            <a:r>
              <a:rPr lang="en-US" sz="2400" dirty="0">
                <a:solidFill>
                  <a:schemeClr val="tx1">
                    <a:lumMod val="50000"/>
                  </a:schemeClr>
                </a:solidFill>
                <a:latin typeface="+mn-lt"/>
              </a:rPr>
              <a:t>videos, links, and photos; </a:t>
            </a:r>
            <a:br>
              <a:rPr lang="en-US" sz="2400" dirty="0">
                <a:solidFill>
                  <a:schemeClr val="tx1">
                    <a:lumMod val="50000"/>
                  </a:schemeClr>
                </a:solidFill>
                <a:latin typeface="+mn-lt"/>
              </a:rPr>
            </a:br>
            <a:r>
              <a:rPr lang="en-US" sz="2400" dirty="0">
                <a:solidFill>
                  <a:schemeClr val="tx1">
                    <a:lumMod val="50000"/>
                  </a:schemeClr>
                </a:solidFill>
                <a:latin typeface="+mn-lt"/>
              </a:rPr>
              <a:t>record audio; add stickers, etc.</a:t>
            </a:r>
          </a:p>
        </p:txBody>
      </p:sp>
      <p:sp>
        <p:nvSpPr>
          <p:cNvPr id="10" name="Content Placeholder 1">
            <a:extLst>
              <a:ext uri="{FF2B5EF4-FFF2-40B4-BE49-F238E27FC236}">
                <a16:creationId xmlns:a16="http://schemas.microsoft.com/office/drawing/2014/main" id="{29220895-CD5F-406B-BDE8-692183FA0ECD}"/>
              </a:ext>
            </a:extLst>
          </p:cNvPr>
          <p:cNvSpPr txBox="1">
            <a:spLocks/>
          </p:cNvSpPr>
          <p:nvPr/>
        </p:nvSpPr>
        <p:spPr>
          <a:xfrm>
            <a:off x="6477000" y="1571861"/>
            <a:ext cx="4989444" cy="4532077"/>
          </a:xfrm>
          <a:prstGeom prst="rect">
            <a:avLst/>
          </a:prstGeom>
        </p:spPr>
        <p:txBody>
          <a:bodyPr lIns="0" rIns="0"/>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base">
              <a:lnSpc>
                <a:spcPct val="100000"/>
              </a:lnSpc>
              <a:spcAft>
                <a:spcPts val="600"/>
              </a:spcAft>
              <a:buClr>
                <a:schemeClr val="tx1"/>
              </a:buClr>
              <a:buNone/>
            </a:pPr>
            <a:r>
              <a:rPr lang="en-US" sz="3200" b="1" dirty="0">
                <a:solidFill>
                  <a:schemeClr val="tx1">
                    <a:lumMod val="50000"/>
                  </a:schemeClr>
                </a:solidFill>
                <a:latin typeface="+mn-lt"/>
              </a:rPr>
              <a:t>Apply</a:t>
            </a:r>
            <a:endParaRPr lang="en-US" sz="3200" dirty="0">
              <a:solidFill>
                <a:schemeClr val="tx1">
                  <a:lumMod val="50000"/>
                </a:schemeClr>
              </a:solidFill>
              <a:latin typeface="+mn-lt"/>
            </a:endParaRPr>
          </a:p>
          <a:p>
            <a:pPr fontAlgn="base">
              <a:lnSpc>
                <a:spcPct val="100000"/>
              </a:lnSpc>
              <a:spcAft>
                <a:spcPts val="600"/>
              </a:spcAft>
              <a:buClr>
                <a:schemeClr val="tx1"/>
              </a:buClr>
              <a:buFont typeface="Wingdings" panose="05000000000000000000" pitchFamily="2" charset="2"/>
              <a:buChar char="ü"/>
            </a:pPr>
            <a:r>
              <a:rPr lang="en-US" sz="2400" dirty="0">
                <a:solidFill>
                  <a:schemeClr val="tx1">
                    <a:lumMod val="50000"/>
                  </a:schemeClr>
                </a:solidFill>
                <a:latin typeface="+mn-lt"/>
              </a:rPr>
              <a:t>Consider an upcoming lesson or content planned.</a:t>
            </a:r>
          </a:p>
          <a:p>
            <a:pPr fontAlgn="base">
              <a:lnSpc>
                <a:spcPct val="100000"/>
              </a:lnSpc>
              <a:spcAft>
                <a:spcPts val="600"/>
              </a:spcAft>
              <a:buClr>
                <a:schemeClr val="tx1"/>
              </a:buClr>
              <a:buFont typeface="Wingdings" panose="05000000000000000000" pitchFamily="2" charset="2"/>
              <a:buChar char="ü"/>
            </a:pPr>
            <a:r>
              <a:rPr lang="en-US" sz="2400" dirty="0">
                <a:solidFill>
                  <a:schemeClr val="tx1">
                    <a:lumMod val="50000"/>
                  </a:schemeClr>
                </a:solidFill>
                <a:latin typeface="+mn-lt"/>
              </a:rPr>
              <a:t>Collect materials, do research, compile helpful resources.</a:t>
            </a:r>
          </a:p>
          <a:p>
            <a:pPr fontAlgn="base">
              <a:lnSpc>
                <a:spcPct val="100000"/>
              </a:lnSpc>
              <a:spcAft>
                <a:spcPts val="600"/>
              </a:spcAft>
              <a:buClr>
                <a:schemeClr val="tx1"/>
              </a:buClr>
              <a:buFont typeface="Wingdings" panose="05000000000000000000" pitchFamily="2" charset="2"/>
              <a:buChar char="ü"/>
            </a:pPr>
            <a:r>
              <a:rPr lang="en-US" sz="2400" dirty="0">
                <a:solidFill>
                  <a:schemeClr val="tx1">
                    <a:lumMod val="50000"/>
                  </a:schemeClr>
                </a:solidFill>
                <a:latin typeface="+mn-lt"/>
              </a:rPr>
              <a:t>Create an assignment or an experience for your students.</a:t>
            </a:r>
            <a:endParaRPr lang="en-US" sz="2400" b="1" dirty="0">
              <a:solidFill>
                <a:schemeClr val="tx1">
                  <a:lumMod val="50000"/>
                </a:schemeClr>
              </a:solidFill>
              <a:latin typeface="+mn-lt"/>
            </a:endParaRPr>
          </a:p>
        </p:txBody>
      </p:sp>
    </p:spTree>
    <p:extLst>
      <p:ext uri="{BB962C8B-B14F-4D97-AF65-F5344CB8AC3E}">
        <p14:creationId xmlns:p14="http://schemas.microsoft.com/office/powerpoint/2010/main" val="31705518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0621BF5-1505-3C4C-A5FE-903CC55DDF30}"/>
              </a:ext>
            </a:extLst>
          </p:cNvPr>
          <p:cNvSpPr>
            <a:spLocks noGrp="1"/>
          </p:cNvSpPr>
          <p:nvPr>
            <p:ph type="body" sz="quarter" idx="14"/>
          </p:nvPr>
        </p:nvSpPr>
        <p:spPr/>
        <p:txBody>
          <a:bodyPr/>
          <a:lstStyle/>
          <a:p>
            <a:r>
              <a:rPr lang="en-US"/>
              <a:t>Web UI with highlight</a:t>
            </a:r>
          </a:p>
        </p:txBody>
      </p:sp>
      <p:sp>
        <p:nvSpPr>
          <p:cNvPr id="18" name="Blue header">
            <a:extLst>
              <a:ext uri="{FF2B5EF4-FFF2-40B4-BE49-F238E27FC236}">
                <a16:creationId xmlns:a16="http://schemas.microsoft.com/office/drawing/2014/main" id="{344ED62C-7FBB-7C4E-B9DD-D0B37B640184}"/>
              </a:ext>
            </a:extLst>
          </p:cNvPr>
          <p:cNvSpPr/>
          <p:nvPr/>
        </p:nvSpPr>
        <p:spPr>
          <a:xfrm>
            <a:off x="0" y="0"/>
            <a:ext cx="12192000" cy="1169043"/>
          </a:xfrm>
          <a:prstGeom prst="rect">
            <a:avLst/>
          </a:prstGeom>
          <a:solidFill>
            <a:srgbClr val="1B74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2">
            <a:extLst>
              <a:ext uri="{FF2B5EF4-FFF2-40B4-BE49-F238E27FC236}">
                <a16:creationId xmlns:a16="http://schemas.microsoft.com/office/drawing/2014/main" id="{ED772027-5015-4946-921A-7B97EF750A71}"/>
              </a:ext>
            </a:extLst>
          </p:cNvPr>
          <p:cNvSpPr txBox="1">
            <a:spLocks/>
          </p:cNvSpPr>
          <p:nvPr/>
        </p:nvSpPr>
        <p:spPr>
          <a:xfrm>
            <a:off x="838199" y="29496"/>
            <a:ext cx="10061575" cy="1139547"/>
          </a:xfrm>
          <a:prstGeom prst="rect">
            <a:avLst/>
          </a:prstGeom>
        </p:spPr>
        <p:txBody>
          <a:bodyPr lIns="0" rIns="0" anchor="ctr"/>
          <a:lstStyle>
            <a:lvl1pPr marL="0" indent="0" algn="l" defTabSz="914400" rtl="0" eaLnBrk="1" latinLnBrk="0" hangingPunct="1">
              <a:lnSpc>
                <a:spcPct val="90000"/>
              </a:lnSpc>
              <a:spcBef>
                <a:spcPts val="1000"/>
              </a:spcBef>
              <a:buFontTx/>
              <a:buNone/>
              <a:defRPr sz="3600" b="1" i="0" kern="1200">
                <a:solidFill>
                  <a:schemeClr val="bg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What You Can Do with Class Notebook</a:t>
            </a:r>
          </a:p>
        </p:txBody>
      </p:sp>
      <p:sp>
        <p:nvSpPr>
          <p:cNvPr id="9" name="Content Placeholder 1">
            <a:extLst>
              <a:ext uri="{FF2B5EF4-FFF2-40B4-BE49-F238E27FC236}">
                <a16:creationId xmlns:a16="http://schemas.microsoft.com/office/drawing/2014/main" id="{85EE1C58-795A-41D4-9264-9E67808ED0F6}"/>
              </a:ext>
            </a:extLst>
          </p:cNvPr>
          <p:cNvSpPr txBox="1">
            <a:spLocks/>
          </p:cNvSpPr>
          <p:nvPr/>
        </p:nvSpPr>
        <p:spPr>
          <a:xfrm>
            <a:off x="533400" y="1371600"/>
            <a:ext cx="10858500" cy="4389438"/>
          </a:xfrm>
          <a:prstGeom prst="rect">
            <a:avLst/>
          </a:prstGeom>
        </p:spPr>
        <p:txBody>
          <a:bodyPr/>
          <a:lstStyle>
            <a:lvl1pPr marL="0" indent="0" algn="l" defTabSz="914225" rtl="0" eaLnBrk="1" latinLnBrk="0" hangingPunct="1">
              <a:spcBef>
                <a:spcPts val="1765"/>
              </a:spcBef>
              <a:spcAft>
                <a:spcPts val="0"/>
              </a:spcAft>
              <a:buFont typeface="Arial" panose="020B0604020202020204" pitchFamily="34" charset="0"/>
              <a:buNone/>
              <a:defRPr sz="2745" kern="1200" baseline="0">
                <a:gradFill>
                  <a:gsLst>
                    <a:gs pos="2917">
                      <a:srgbClr val="0078D7"/>
                    </a:gs>
                    <a:gs pos="100000">
                      <a:srgbClr val="0078D7">
                        <a:alpha val="99000"/>
                      </a:srgbClr>
                    </a:gs>
                  </a:gsLst>
                  <a:lin ang="5400000" scaled="0"/>
                </a:gradFill>
                <a:latin typeface="Segoe UI Semibold" panose="020B0702040204020203" pitchFamily="34" charset="0"/>
                <a:ea typeface="+mn-ea"/>
                <a:cs typeface="Segoe UI Semibold" panose="020B0702040204020203" pitchFamily="34" charset="0"/>
              </a:defRPr>
            </a:lvl1pPr>
            <a:lvl2pPr marL="0" indent="0" algn="l" defTabSz="914225" rtl="0" eaLnBrk="1" latinLnBrk="0" hangingPunct="1">
              <a:spcBef>
                <a:spcPts val="588"/>
              </a:spcBef>
              <a:spcAft>
                <a:spcPts val="588"/>
              </a:spcAft>
              <a:buClr>
                <a:schemeClr val="bg1">
                  <a:lumMod val="65000"/>
                </a:schemeClr>
              </a:buClr>
              <a:buFont typeface="Arial" panose="020B0604020202020204" pitchFamily="34" charset="0"/>
              <a:buNone/>
              <a:defRPr sz="2353" kern="1200">
                <a:gradFill>
                  <a:gsLst>
                    <a:gs pos="2917">
                      <a:schemeClr val="tx1">
                        <a:lumMod val="75000"/>
                        <a:alpha val="99000"/>
                      </a:schemeClr>
                    </a:gs>
                    <a:gs pos="100000">
                      <a:schemeClr val="tx1">
                        <a:lumMod val="75000"/>
                      </a:schemeClr>
                    </a:gs>
                  </a:gsLst>
                  <a:lin ang="5400000" scaled="0"/>
                </a:gradFill>
                <a:latin typeface="+mn-lt"/>
                <a:ea typeface="+mn-ea"/>
                <a:cs typeface="+mn-cs"/>
              </a:defRPr>
            </a:lvl2pPr>
            <a:lvl3pPr marL="224097" indent="-220984" algn="l" defTabSz="914225" rtl="0" eaLnBrk="1" latinLnBrk="0" hangingPunct="1">
              <a:spcBef>
                <a:spcPts val="0"/>
              </a:spcBef>
              <a:spcAft>
                <a:spcPts val="588"/>
              </a:spcAft>
              <a:buClr>
                <a:srgbClr val="0078D7"/>
              </a:buClr>
              <a:buFont typeface="Arial" panose="020B0604020202020204" pitchFamily="34" charset="0"/>
              <a:buChar char="•"/>
              <a:defRPr sz="2353" kern="1200">
                <a:gradFill>
                  <a:gsLst>
                    <a:gs pos="2917">
                      <a:schemeClr val="tx1">
                        <a:lumMod val="75000"/>
                        <a:alpha val="99000"/>
                      </a:schemeClr>
                    </a:gs>
                    <a:gs pos="100000">
                      <a:schemeClr val="tx1">
                        <a:lumMod val="75000"/>
                      </a:schemeClr>
                    </a:gs>
                  </a:gsLst>
                  <a:lin ang="5400000" scaled="0"/>
                </a:gradFill>
                <a:latin typeface="+mn-lt"/>
                <a:ea typeface="+mn-ea"/>
                <a:cs typeface="+mn-cs"/>
              </a:defRPr>
            </a:lvl3pPr>
            <a:lvl4pPr marL="557129" indent="-333032" algn="l" defTabSz="914225" rtl="0" eaLnBrk="1" latinLnBrk="0" hangingPunct="1">
              <a:spcBef>
                <a:spcPts val="0"/>
              </a:spcBef>
              <a:spcAft>
                <a:spcPts val="784"/>
              </a:spcAft>
              <a:buClr>
                <a:srgbClr val="0078D7"/>
              </a:buClr>
              <a:buFont typeface="Segoe UI Symbol" panose="020B0502040204020203" pitchFamily="34" charset="0"/>
              <a:buChar char=""/>
              <a:defRPr sz="1961" kern="1200">
                <a:gradFill>
                  <a:gsLst>
                    <a:gs pos="2917">
                      <a:schemeClr val="tx1">
                        <a:lumMod val="75000"/>
                        <a:alpha val="99000"/>
                      </a:schemeClr>
                    </a:gs>
                    <a:gs pos="100000">
                      <a:schemeClr val="tx1">
                        <a:lumMod val="75000"/>
                      </a:schemeClr>
                    </a:gs>
                  </a:gsLst>
                  <a:lin ang="5400000" scaled="0"/>
                </a:gradFill>
                <a:latin typeface="+mn-lt"/>
                <a:ea typeface="+mn-ea"/>
                <a:cs typeface="+mn-cs"/>
              </a:defRPr>
            </a:lvl4pPr>
            <a:lvl5pPr marL="784338" indent="-222541" algn="l" defTabSz="914225" rtl="0" eaLnBrk="1" latinLnBrk="0" hangingPunct="1">
              <a:spcBef>
                <a:spcPts val="0"/>
              </a:spcBef>
              <a:spcAft>
                <a:spcPts val="784"/>
              </a:spcAft>
              <a:buClr>
                <a:srgbClr val="0078D7"/>
              </a:buClr>
              <a:buFont typeface="Arial" panose="020B0604020202020204" pitchFamily="34" charset="0"/>
              <a:buChar char="+"/>
              <a:defRPr sz="1961" kern="1200" baseline="0">
                <a:gradFill>
                  <a:gsLst>
                    <a:gs pos="2917">
                      <a:schemeClr val="tx1">
                        <a:lumMod val="75000"/>
                        <a:alpha val="99000"/>
                      </a:schemeClr>
                    </a:gs>
                    <a:gs pos="100000">
                      <a:schemeClr val="tx1">
                        <a:lumMod val="75000"/>
                      </a:schemeClr>
                    </a:gs>
                  </a:gsLst>
                  <a:lin ang="5400000" scaled="0"/>
                </a:gradFill>
                <a:latin typeface="+mn-lt"/>
                <a:ea typeface="+mn-ea"/>
                <a:cs typeface="+mn-cs"/>
              </a:defRPr>
            </a:lvl5pPr>
            <a:lvl6pPr marL="1064459" indent="-277008" algn="l" defTabSz="914225" rtl="0" eaLnBrk="1" latinLnBrk="0" hangingPunct="1">
              <a:spcBef>
                <a:spcPts val="0"/>
              </a:spcBef>
              <a:buClr>
                <a:schemeClr val="tx2"/>
              </a:buClr>
              <a:buFont typeface="+mj-lt"/>
              <a:buAutoNum type="alphaLcPeriod"/>
              <a:defRPr sz="1961" kern="1200">
                <a:solidFill>
                  <a:schemeClr val="tx1"/>
                </a:solidFill>
                <a:latin typeface="+mn-lt"/>
                <a:ea typeface="+mn-ea"/>
                <a:cs typeface="+mn-cs"/>
              </a:defRPr>
            </a:lvl6pPr>
            <a:lvl7pPr marL="2971230" indent="-228556" algn="l" defTabSz="9142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base">
              <a:spcAft>
                <a:spcPts val="600"/>
              </a:spcAft>
              <a:buClr>
                <a:schemeClr val="tx1"/>
              </a:buClr>
            </a:pPr>
            <a:r>
              <a:rPr lang="en-US" sz="3200" b="1" dirty="0">
                <a:solidFill>
                  <a:schemeClr val="tx1">
                    <a:lumMod val="50000"/>
                  </a:schemeClr>
                </a:solidFill>
                <a:latin typeface="+mn-lt"/>
              </a:rPr>
              <a:t>Explain</a:t>
            </a:r>
          </a:p>
          <a:p>
            <a:pPr>
              <a:lnSpc>
                <a:spcPct val="150000"/>
              </a:lnSpc>
              <a:buClr>
                <a:schemeClr val="tx1"/>
              </a:buClr>
            </a:pPr>
            <a:r>
              <a:rPr lang="en-US" sz="2400" dirty="0">
                <a:solidFill>
                  <a:schemeClr val="tx1">
                    <a:lumMod val="50000"/>
                  </a:schemeClr>
                </a:solidFill>
                <a:latin typeface="+mn-lt"/>
              </a:rPr>
              <a:t>Easily distribute content to whole classes or individual students</a:t>
            </a:r>
          </a:p>
          <a:p>
            <a:pPr fontAlgn="base">
              <a:lnSpc>
                <a:spcPct val="150000"/>
              </a:lnSpc>
              <a:spcAft>
                <a:spcPts val="1200"/>
              </a:spcAft>
              <a:buClr>
                <a:schemeClr val="tx1"/>
              </a:buClr>
            </a:pPr>
            <a:r>
              <a:rPr lang="en-US" sz="2400" dirty="0">
                <a:solidFill>
                  <a:schemeClr val="tx1">
                    <a:lumMod val="50000"/>
                  </a:schemeClr>
                </a:solidFill>
                <a:latin typeface="+mn-lt"/>
              </a:rPr>
              <a:t>Track student work</a:t>
            </a:r>
          </a:p>
          <a:p>
            <a:pPr fontAlgn="base">
              <a:lnSpc>
                <a:spcPct val="100000"/>
              </a:lnSpc>
              <a:spcAft>
                <a:spcPts val="1200"/>
              </a:spcAft>
              <a:buClr>
                <a:schemeClr val="tx1"/>
              </a:buClr>
            </a:pPr>
            <a:r>
              <a:rPr lang="en-US" sz="2400" dirty="0">
                <a:solidFill>
                  <a:schemeClr val="tx1">
                    <a:lumMod val="50000"/>
                  </a:schemeClr>
                </a:solidFill>
                <a:latin typeface="+mn-lt"/>
              </a:rPr>
              <a:t>Leave feedback and offer support</a:t>
            </a:r>
          </a:p>
          <a:p>
            <a:pPr fontAlgn="base">
              <a:lnSpc>
                <a:spcPct val="100000"/>
              </a:lnSpc>
              <a:spcAft>
                <a:spcPts val="1200"/>
              </a:spcAft>
              <a:buClr>
                <a:schemeClr val="tx1"/>
              </a:buClr>
            </a:pPr>
            <a:r>
              <a:rPr lang="en-US" sz="2400" dirty="0">
                <a:solidFill>
                  <a:schemeClr val="tx1">
                    <a:lumMod val="50000"/>
                  </a:schemeClr>
                </a:solidFill>
                <a:latin typeface="+mn-lt"/>
              </a:rPr>
              <a:t>Send work back for revision</a:t>
            </a:r>
          </a:p>
          <a:p>
            <a:pPr fontAlgn="base">
              <a:lnSpc>
                <a:spcPct val="100000"/>
              </a:lnSpc>
              <a:spcAft>
                <a:spcPts val="1200"/>
              </a:spcAft>
              <a:buClr>
                <a:schemeClr val="tx1"/>
              </a:buClr>
            </a:pPr>
            <a:r>
              <a:rPr lang="en-US" sz="2400" dirty="0">
                <a:solidFill>
                  <a:schemeClr val="tx1">
                    <a:lumMod val="50000"/>
                  </a:schemeClr>
                </a:solidFill>
                <a:latin typeface="+mn-lt"/>
              </a:rPr>
              <a:t>Reuse content</a:t>
            </a:r>
          </a:p>
        </p:txBody>
      </p:sp>
    </p:spTree>
    <p:extLst>
      <p:ext uri="{BB962C8B-B14F-4D97-AF65-F5344CB8AC3E}">
        <p14:creationId xmlns:p14="http://schemas.microsoft.com/office/powerpoint/2010/main" val="8625311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6E28F2A-1337-4409-B1EF-0B278A88A84F}"/>
              </a:ext>
            </a:extLst>
          </p:cNvPr>
          <p:cNvSpPr/>
          <p:nvPr/>
        </p:nvSpPr>
        <p:spPr>
          <a:xfrm>
            <a:off x="0" y="0"/>
            <a:ext cx="12192000" cy="1169043"/>
          </a:xfrm>
          <a:prstGeom prst="rect">
            <a:avLst/>
          </a:prstGeom>
          <a:solidFill>
            <a:srgbClr val="1B74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8A1788-C6DD-4CFB-B57F-29F8BD80FC00}"/>
              </a:ext>
            </a:extLst>
          </p:cNvPr>
          <p:cNvSpPr>
            <a:spLocks noGrp="1"/>
          </p:cNvSpPr>
          <p:nvPr>
            <p:ph type="title"/>
          </p:nvPr>
        </p:nvSpPr>
        <p:spPr/>
        <p:txBody>
          <a:bodyPr/>
          <a:lstStyle/>
          <a:p>
            <a:r>
              <a:rPr lang="en-US" dirty="0"/>
              <a:t>Adding Content to Notebook</a:t>
            </a:r>
          </a:p>
        </p:txBody>
      </p:sp>
      <p:sp>
        <p:nvSpPr>
          <p:cNvPr id="10" name="TextBox 9">
            <a:extLst>
              <a:ext uri="{FF2B5EF4-FFF2-40B4-BE49-F238E27FC236}">
                <a16:creationId xmlns:a16="http://schemas.microsoft.com/office/drawing/2014/main" id="{FB5DD52E-2A40-4C36-B355-5F207C52C5F2}"/>
              </a:ext>
            </a:extLst>
          </p:cNvPr>
          <p:cNvSpPr txBox="1"/>
          <p:nvPr/>
        </p:nvSpPr>
        <p:spPr>
          <a:xfrm>
            <a:off x="6479734" y="2274071"/>
            <a:ext cx="3382199" cy="3877985"/>
          </a:xfrm>
          <a:prstGeom prst="rect">
            <a:avLst/>
          </a:prstGeom>
          <a:noFill/>
        </p:spPr>
        <p:txBody>
          <a:bodyPr wrap="square" lIns="0" tIns="0" rIns="0" bIns="0" rtlCol="0">
            <a:spAutoFit/>
          </a:bodyPr>
          <a:lstStyle/>
          <a:p>
            <a:pPr marL="457200" indent="-457200" fontAlgn="ctr">
              <a:buFont typeface="Wingdings" panose="05000000000000000000" pitchFamily="2" charset="2"/>
              <a:buChar char="ü"/>
            </a:pPr>
            <a:r>
              <a:rPr lang="en-US" sz="2800" dirty="0">
                <a:solidFill>
                  <a:schemeClr val="tx1">
                    <a:lumMod val="50000"/>
                  </a:schemeClr>
                </a:solidFill>
              </a:rPr>
              <a:t>Bookshelf</a:t>
            </a:r>
          </a:p>
          <a:p>
            <a:pPr fontAlgn="ctr"/>
            <a:endParaRPr lang="en-US" sz="2800" dirty="0">
              <a:solidFill>
                <a:schemeClr val="tx1">
                  <a:lumMod val="50000"/>
                </a:schemeClr>
              </a:solidFill>
            </a:endParaRPr>
          </a:p>
          <a:p>
            <a:pPr marL="457200" indent="-457200" fontAlgn="ctr">
              <a:buFont typeface="Wingdings" panose="05000000000000000000" pitchFamily="2" charset="2"/>
              <a:buChar char="ü"/>
            </a:pPr>
            <a:r>
              <a:rPr lang="en-US" sz="2800" dirty="0">
                <a:solidFill>
                  <a:schemeClr val="tx1">
                    <a:lumMod val="50000"/>
                  </a:schemeClr>
                </a:solidFill>
              </a:rPr>
              <a:t>Search</a:t>
            </a:r>
          </a:p>
          <a:p>
            <a:pPr fontAlgn="ctr"/>
            <a:endParaRPr lang="en-US" sz="2800" dirty="0">
              <a:solidFill>
                <a:schemeClr val="tx1">
                  <a:lumMod val="50000"/>
                </a:schemeClr>
              </a:solidFill>
            </a:endParaRPr>
          </a:p>
          <a:p>
            <a:pPr marL="457200" indent="-457200" fontAlgn="ctr">
              <a:buFont typeface="Wingdings" panose="05000000000000000000" pitchFamily="2" charset="2"/>
              <a:buChar char="ü"/>
            </a:pPr>
            <a:r>
              <a:rPr lang="en-US" sz="2800" dirty="0">
                <a:solidFill>
                  <a:schemeClr val="tx1">
                    <a:lumMod val="50000"/>
                  </a:schemeClr>
                </a:solidFill>
              </a:rPr>
              <a:t>Recent Notes</a:t>
            </a:r>
          </a:p>
          <a:p>
            <a:pPr fontAlgn="ctr"/>
            <a:endParaRPr lang="en-US" sz="2800" dirty="0">
              <a:solidFill>
                <a:schemeClr val="tx1">
                  <a:lumMod val="50000"/>
                </a:schemeClr>
              </a:solidFill>
            </a:endParaRPr>
          </a:p>
          <a:p>
            <a:pPr marL="457200" indent="-457200" fontAlgn="ctr">
              <a:buFont typeface="Wingdings" panose="05000000000000000000" pitchFamily="2" charset="2"/>
              <a:buChar char="ü"/>
            </a:pPr>
            <a:r>
              <a:rPr lang="en-US" sz="2800" dirty="0">
                <a:solidFill>
                  <a:schemeClr val="tx1">
                    <a:lumMod val="50000"/>
                  </a:schemeClr>
                </a:solidFill>
              </a:rPr>
              <a:t>Add Sections</a:t>
            </a:r>
          </a:p>
          <a:p>
            <a:pPr fontAlgn="ctr"/>
            <a:endParaRPr lang="en-US" sz="2800" dirty="0">
              <a:solidFill>
                <a:schemeClr val="tx1">
                  <a:lumMod val="50000"/>
                </a:schemeClr>
              </a:solidFill>
            </a:endParaRPr>
          </a:p>
          <a:p>
            <a:pPr marL="457200" indent="-457200" fontAlgn="ctr">
              <a:buFont typeface="Wingdings" panose="05000000000000000000" pitchFamily="2" charset="2"/>
              <a:buChar char="ü"/>
            </a:pPr>
            <a:r>
              <a:rPr lang="en-US" sz="2800" dirty="0">
                <a:solidFill>
                  <a:schemeClr val="tx1">
                    <a:lumMod val="50000"/>
                  </a:schemeClr>
                </a:solidFill>
              </a:rPr>
              <a:t>Add Pages</a:t>
            </a:r>
          </a:p>
        </p:txBody>
      </p:sp>
      <p:pic>
        <p:nvPicPr>
          <p:cNvPr id="11" name="Picture 10">
            <a:extLst>
              <a:ext uri="{FF2B5EF4-FFF2-40B4-BE49-F238E27FC236}">
                <a16:creationId xmlns:a16="http://schemas.microsoft.com/office/drawing/2014/main" id="{5C70CF1C-91D2-4C86-8BA5-00B92C373244}"/>
              </a:ext>
            </a:extLst>
          </p:cNvPr>
          <p:cNvPicPr>
            <a:picLocks noChangeAspect="1"/>
          </p:cNvPicPr>
          <p:nvPr/>
        </p:nvPicPr>
        <p:blipFill>
          <a:blip r:embed="rId2"/>
          <a:stretch>
            <a:fillRect/>
          </a:stretch>
        </p:blipFill>
        <p:spPr>
          <a:xfrm>
            <a:off x="2133600" y="2019300"/>
            <a:ext cx="2928432" cy="438752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cxnSp>
        <p:nvCxnSpPr>
          <p:cNvPr id="12" name="Straight Arrow Connector 11">
            <a:extLst>
              <a:ext uri="{FF2B5EF4-FFF2-40B4-BE49-F238E27FC236}">
                <a16:creationId xmlns:a16="http://schemas.microsoft.com/office/drawing/2014/main" id="{31F2DDB4-C564-473D-9A8A-C04C83CE8A1C}"/>
              </a:ext>
            </a:extLst>
          </p:cNvPr>
          <p:cNvCxnSpPr/>
          <p:nvPr/>
        </p:nvCxnSpPr>
        <p:spPr>
          <a:xfrm>
            <a:off x="5313481" y="3930967"/>
            <a:ext cx="876686" cy="0"/>
          </a:xfrm>
          <a:prstGeom prst="straightConnector1">
            <a:avLst/>
          </a:prstGeom>
          <a:ln w="57150">
            <a:solidFill>
              <a:srgbClr val="AF3CBE"/>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77878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2000"/>
                                        <p:tgtEl>
                                          <p:spTgt spid="10">
                                            <p:txEl>
                                              <p:pRg st="0" end="0"/>
                                            </p:txEl>
                                          </p:spTgt>
                                        </p:tgtEl>
                                      </p:cBhvr>
                                    </p:animEffect>
                                    <p:anim calcmode="lin" valueType="num">
                                      <p:cBhvr>
                                        <p:cTn id="8" dur="2000" fill="hold"/>
                                        <p:tgtEl>
                                          <p:spTgt spid="10">
                                            <p:txEl>
                                              <p:pRg st="0" end="0"/>
                                            </p:txEl>
                                          </p:spTgt>
                                        </p:tgtEl>
                                        <p:attrNameLst>
                                          <p:attrName>ppt_x</p:attrName>
                                        </p:attrNameLst>
                                      </p:cBhvr>
                                      <p:tavLst>
                                        <p:tav tm="0">
                                          <p:val>
                                            <p:strVal val="#ppt_x"/>
                                          </p:val>
                                        </p:tav>
                                        <p:tav tm="100000">
                                          <p:val>
                                            <p:strVal val="#ppt_x"/>
                                          </p:val>
                                        </p:tav>
                                      </p:tavLst>
                                    </p:anim>
                                    <p:anim calcmode="lin" valueType="num">
                                      <p:cBhvr>
                                        <p:cTn id="9" dur="2000" fill="hold"/>
                                        <p:tgtEl>
                                          <p:spTgt spid="10">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2000"/>
                            </p:stCondLst>
                            <p:childTnLst>
                              <p:par>
                                <p:cTn id="11" presetID="42" presetClass="entr" presetSubtype="0" fill="hold" nodeType="after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Effect transition="in" filter="fade">
                                      <p:cBhvr>
                                        <p:cTn id="13" dur="2000"/>
                                        <p:tgtEl>
                                          <p:spTgt spid="10">
                                            <p:txEl>
                                              <p:pRg st="2" end="2"/>
                                            </p:txEl>
                                          </p:spTgt>
                                        </p:tgtEl>
                                      </p:cBhvr>
                                    </p:animEffect>
                                    <p:anim calcmode="lin" valueType="num">
                                      <p:cBhvr>
                                        <p:cTn id="14" dur="2000" fill="hold"/>
                                        <p:tgtEl>
                                          <p:spTgt spid="10">
                                            <p:txEl>
                                              <p:pRg st="2" end="2"/>
                                            </p:txEl>
                                          </p:spTgt>
                                        </p:tgtEl>
                                        <p:attrNameLst>
                                          <p:attrName>ppt_x</p:attrName>
                                        </p:attrNameLst>
                                      </p:cBhvr>
                                      <p:tavLst>
                                        <p:tav tm="0">
                                          <p:val>
                                            <p:strVal val="#ppt_x"/>
                                          </p:val>
                                        </p:tav>
                                        <p:tav tm="100000">
                                          <p:val>
                                            <p:strVal val="#ppt_x"/>
                                          </p:val>
                                        </p:tav>
                                      </p:tavLst>
                                    </p:anim>
                                    <p:anim calcmode="lin" valueType="num">
                                      <p:cBhvr>
                                        <p:cTn id="15" dur="2000" fill="hold"/>
                                        <p:tgtEl>
                                          <p:spTgt spid="10">
                                            <p:txEl>
                                              <p:pRg st="2" end="2"/>
                                            </p:txEl>
                                          </p:spTgt>
                                        </p:tgtEl>
                                        <p:attrNameLst>
                                          <p:attrName>ppt_y</p:attrName>
                                        </p:attrNameLst>
                                      </p:cBhvr>
                                      <p:tavLst>
                                        <p:tav tm="0">
                                          <p:val>
                                            <p:strVal val="#ppt_y+.1"/>
                                          </p:val>
                                        </p:tav>
                                        <p:tav tm="100000">
                                          <p:val>
                                            <p:strVal val="#ppt_y"/>
                                          </p:val>
                                        </p:tav>
                                      </p:tavLst>
                                    </p:anim>
                                  </p:childTnLst>
                                </p:cTn>
                              </p:par>
                            </p:childTnLst>
                          </p:cTn>
                        </p:par>
                        <p:par>
                          <p:cTn id="16" fill="hold">
                            <p:stCondLst>
                              <p:cond delay="4000"/>
                            </p:stCondLst>
                            <p:childTnLst>
                              <p:par>
                                <p:cTn id="17" presetID="42" presetClass="entr" presetSubtype="0" fill="hold" nodeType="after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Effect transition="in" filter="fade">
                                      <p:cBhvr>
                                        <p:cTn id="19" dur="2000"/>
                                        <p:tgtEl>
                                          <p:spTgt spid="10">
                                            <p:txEl>
                                              <p:pRg st="4" end="4"/>
                                            </p:txEl>
                                          </p:spTgt>
                                        </p:tgtEl>
                                      </p:cBhvr>
                                    </p:animEffect>
                                    <p:anim calcmode="lin" valueType="num">
                                      <p:cBhvr>
                                        <p:cTn id="20" dur="2000" fill="hold"/>
                                        <p:tgtEl>
                                          <p:spTgt spid="10">
                                            <p:txEl>
                                              <p:pRg st="4" end="4"/>
                                            </p:txEl>
                                          </p:spTgt>
                                        </p:tgtEl>
                                        <p:attrNameLst>
                                          <p:attrName>ppt_x</p:attrName>
                                        </p:attrNameLst>
                                      </p:cBhvr>
                                      <p:tavLst>
                                        <p:tav tm="0">
                                          <p:val>
                                            <p:strVal val="#ppt_x"/>
                                          </p:val>
                                        </p:tav>
                                        <p:tav tm="100000">
                                          <p:val>
                                            <p:strVal val="#ppt_x"/>
                                          </p:val>
                                        </p:tav>
                                      </p:tavLst>
                                    </p:anim>
                                    <p:anim calcmode="lin" valueType="num">
                                      <p:cBhvr>
                                        <p:cTn id="21" dur="2000" fill="hold"/>
                                        <p:tgtEl>
                                          <p:spTgt spid="10">
                                            <p:txEl>
                                              <p:pRg st="4" end="4"/>
                                            </p:txEl>
                                          </p:spTgt>
                                        </p:tgtEl>
                                        <p:attrNameLst>
                                          <p:attrName>ppt_y</p:attrName>
                                        </p:attrNameLst>
                                      </p:cBhvr>
                                      <p:tavLst>
                                        <p:tav tm="0">
                                          <p:val>
                                            <p:strVal val="#ppt_y+.1"/>
                                          </p:val>
                                        </p:tav>
                                        <p:tav tm="100000">
                                          <p:val>
                                            <p:strVal val="#ppt_y"/>
                                          </p:val>
                                        </p:tav>
                                      </p:tavLst>
                                    </p:anim>
                                  </p:childTnLst>
                                </p:cTn>
                              </p:par>
                            </p:childTnLst>
                          </p:cTn>
                        </p:par>
                        <p:par>
                          <p:cTn id="22" fill="hold">
                            <p:stCondLst>
                              <p:cond delay="6000"/>
                            </p:stCondLst>
                            <p:childTnLst>
                              <p:par>
                                <p:cTn id="23" presetID="42" presetClass="entr" presetSubtype="0" fill="hold" nodeType="after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Effect transition="in" filter="fade">
                                      <p:cBhvr>
                                        <p:cTn id="25" dur="2000"/>
                                        <p:tgtEl>
                                          <p:spTgt spid="10">
                                            <p:txEl>
                                              <p:pRg st="6" end="6"/>
                                            </p:txEl>
                                          </p:spTgt>
                                        </p:tgtEl>
                                      </p:cBhvr>
                                    </p:animEffect>
                                    <p:anim calcmode="lin" valueType="num">
                                      <p:cBhvr>
                                        <p:cTn id="26" dur="2000" fill="hold"/>
                                        <p:tgtEl>
                                          <p:spTgt spid="10">
                                            <p:txEl>
                                              <p:pRg st="6" end="6"/>
                                            </p:txEl>
                                          </p:spTgt>
                                        </p:tgtEl>
                                        <p:attrNameLst>
                                          <p:attrName>ppt_x</p:attrName>
                                        </p:attrNameLst>
                                      </p:cBhvr>
                                      <p:tavLst>
                                        <p:tav tm="0">
                                          <p:val>
                                            <p:strVal val="#ppt_x"/>
                                          </p:val>
                                        </p:tav>
                                        <p:tav tm="100000">
                                          <p:val>
                                            <p:strVal val="#ppt_x"/>
                                          </p:val>
                                        </p:tav>
                                      </p:tavLst>
                                    </p:anim>
                                    <p:anim calcmode="lin" valueType="num">
                                      <p:cBhvr>
                                        <p:cTn id="27" dur="2000" fill="hold"/>
                                        <p:tgtEl>
                                          <p:spTgt spid="10">
                                            <p:txEl>
                                              <p:pRg st="6" end="6"/>
                                            </p:txEl>
                                          </p:spTgt>
                                        </p:tgtEl>
                                        <p:attrNameLst>
                                          <p:attrName>ppt_y</p:attrName>
                                        </p:attrNameLst>
                                      </p:cBhvr>
                                      <p:tavLst>
                                        <p:tav tm="0">
                                          <p:val>
                                            <p:strVal val="#ppt_y+.1"/>
                                          </p:val>
                                        </p:tav>
                                        <p:tav tm="100000">
                                          <p:val>
                                            <p:strVal val="#ppt_y"/>
                                          </p:val>
                                        </p:tav>
                                      </p:tavLst>
                                    </p:anim>
                                  </p:childTnLst>
                                </p:cTn>
                              </p:par>
                            </p:childTnLst>
                          </p:cTn>
                        </p:par>
                        <p:par>
                          <p:cTn id="28" fill="hold">
                            <p:stCondLst>
                              <p:cond delay="8000"/>
                            </p:stCondLst>
                            <p:childTnLst>
                              <p:par>
                                <p:cTn id="29" presetID="42" presetClass="entr" presetSubtype="0" fill="hold" nodeType="afterEffect">
                                  <p:stCondLst>
                                    <p:cond delay="0"/>
                                  </p:stCondLst>
                                  <p:childTnLst>
                                    <p:set>
                                      <p:cBhvr>
                                        <p:cTn id="30" dur="1" fill="hold">
                                          <p:stCondLst>
                                            <p:cond delay="0"/>
                                          </p:stCondLst>
                                        </p:cTn>
                                        <p:tgtEl>
                                          <p:spTgt spid="10">
                                            <p:txEl>
                                              <p:pRg st="8" end="8"/>
                                            </p:txEl>
                                          </p:spTgt>
                                        </p:tgtEl>
                                        <p:attrNameLst>
                                          <p:attrName>style.visibility</p:attrName>
                                        </p:attrNameLst>
                                      </p:cBhvr>
                                      <p:to>
                                        <p:strVal val="visible"/>
                                      </p:to>
                                    </p:set>
                                    <p:animEffect transition="in" filter="fade">
                                      <p:cBhvr>
                                        <p:cTn id="31" dur="2000"/>
                                        <p:tgtEl>
                                          <p:spTgt spid="10">
                                            <p:txEl>
                                              <p:pRg st="8" end="8"/>
                                            </p:txEl>
                                          </p:spTgt>
                                        </p:tgtEl>
                                      </p:cBhvr>
                                    </p:animEffect>
                                    <p:anim calcmode="lin" valueType="num">
                                      <p:cBhvr>
                                        <p:cTn id="32" dur="2000" fill="hold"/>
                                        <p:tgtEl>
                                          <p:spTgt spid="10">
                                            <p:txEl>
                                              <p:pRg st="8" end="8"/>
                                            </p:txEl>
                                          </p:spTgt>
                                        </p:tgtEl>
                                        <p:attrNameLst>
                                          <p:attrName>ppt_x</p:attrName>
                                        </p:attrNameLst>
                                      </p:cBhvr>
                                      <p:tavLst>
                                        <p:tav tm="0">
                                          <p:val>
                                            <p:strVal val="#ppt_x"/>
                                          </p:val>
                                        </p:tav>
                                        <p:tav tm="100000">
                                          <p:val>
                                            <p:strVal val="#ppt_x"/>
                                          </p:val>
                                        </p:tav>
                                      </p:tavLst>
                                    </p:anim>
                                    <p:anim calcmode="lin" valueType="num">
                                      <p:cBhvr>
                                        <p:cTn id="33" dur="2000" fill="hold"/>
                                        <p:tgtEl>
                                          <p:spTgt spid="10">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6E28F2A-1337-4409-B1EF-0B278A88A84F}"/>
              </a:ext>
            </a:extLst>
          </p:cNvPr>
          <p:cNvSpPr/>
          <p:nvPr/>
        </p:nvSpPr>
        <p:spPr>
          <a:xfrm>
            <a:off x="0" y="0"/>
            <a:ext cx="12192000" cy="1169043"/>
          </a:xfrm>
          <a:prstGeom prst="rect">
            <a:avLst/>
          </a:prstGeom>
          <a:solidFill>
            <a:srgbClr val="1B74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8A1788-C6DD-4CFB-B57F-29F8BD80FC00}"/>
              </a:ext>
            </a:extLst>
          </p:cNvPr>
          <p:cNvSpPr>
            <a:spLocks noGrp="1"/>
          </p:cNvSpPr>
          <p:nvPr>
            <p:ph type="title"/>
          </p:nvPr>
        </p:nvSpPr>
        <p:spPr/>
        <p:txBody>
          <a:bodyPr/>
          <a:lstStyle/>
          <a:p>
            <a:r>
              <a:rPr lang="en-US" dirty="0"/>
              <a:t>Getting Started: The Ribbon</a:t>
            </a:r>
          </a:p>
        </p:txBody>
      </p:sp>
      <p:graphicFrame>
        <p:nvGraphicFramePr>
          <p:cNvPr id="7" name="Diagram 6">
            <a:extLst>
              <a:ext uri="{FF2B5EF4-FFF2-40B4-BE49-F238E27FC236}">
                <a16:creationId xmlns:a16="http://schemas.microsoft.com/office/drawing/2014/main" id="{A36B1BD8-7842-446A-98E7-7022CC7E4FE7}"/>
              </a:ext>
            </a:extLst>
          </p:cNvPr>
          <p:cNvGraphicFramePr/>
          <p:nvPr>
            <p:extLst>
              <p:ext uri="{D42A27DB-BD31-4B8C-83A1-F6EECF244321}">
                <p14:modId xmlns:p14="http://schemas.microsoft.com/office/powerpoint/2010/main" val="3696646928"/>
              </p:ext>
            </p:extLst>
          </p:nvPr>
        </p:nvGraphicFramePr>
        <p:xfrm>
          <a:off x="2824964" y="2199440"/>
          <a:ext cx="6542072" cy="42747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Picture 7">
            <a:extLst>
              <a:ext uri="{FF2B5EF4-FFF2-40B4-BE49-F238E27FC236}">
                <a16:creationId xmlns:a16="http://schemas.microsoft.com/office/drawing/2014/main" id="{5BD21C3E-6CA9-4A58-8C58-71EE2959CCF6}"/>
              </a:ext>
            </a:extLst>
          </p:cNvPr>
          <p:cNvPicPr>
            <a:picLocks noChangeAspect="1"/>
          </p:cNvPicPr>
          <p:nvPr/>
        </p:nvPicPr>
        <p:blipFill>
          <a:blip r:embed="rId7"/>
          <a:stretch>
            <a:fillRect/>
          </a:stretch>
        </p:blipFill>
        <p:spPr>
          <a:xfrm>
            <a:off x="1938307" y="1450811"/>
            <a:ext cx="8631686" cy="53304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33012910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6E28F2A-1337-4409-B1EF-0B278A88A84F}"/>
              </a:ext>
            </a:extLst>
          </p:cNvPr>
          <p:cNvSpPr/>
          <p:nvPr/>
        </p:nvSpPr>
        <p:spPr>
          <a:xfrm>
            <a:off x="0" y="0"/>
            <a:ext cx="12192000" cy="1169043"/>
          </a:xfrm>
          <a:prstGeom prst="rect">
            <a:avLst/>
          </a:prstGeom>
          <a:solidFill>
            <a:srgbClr val="1B74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8A1788-C6DD-4CFB-B57F-29F8BD80FC00}"/>
              </a:ext>
            </a:extLst>
          </p:cNvPr>
          <p:cNvSpPr>
            <a:spLocks noGrp="1"/>
          </p:cNvSpPr>
          <p:nvPr>
            <p:ph type="title"/>
          </p:nvPr>
        </p:nvSpPr>
        <p:spPr/>
        <p:txBody>
          <a:bodyPr/>
          <a:lstStyle/>
          <a:p>
            <a:r>
              <a:rPr lang="en-US" dirty="0"/>
              <a:t>Getting Started: The Ribbon</a:t>
            </a:r>
          </a:p>
        </p:txBody>
      </p:sp>
      <p:graphicFrame>
        <p:nvGraphicFramePr>
          <p:cNvPr id="6" name="Diagram 5">
            <a:extLst>
              <a:ext uri="{FF2B5EF4-FFF2-40B4-BE49-F238E27FC236}">
                <a16:creationId xmlns:a16="http://schemas.microsoft.com/office/drawing/2014/main" id="{5F526D40-D5D2-42B3-AACA-DF5428A3CF4A}"/>
              </a:ext>
            </a:extLst>
          </p:cNvPr>
          <p:cNvGraphicFramePr/>
          <p:nvPr>
            <p:extLst>
              <p:ext uri="{D42A27DB-BD31-4B8C-83A1-F6EECF244321}">
                <p14:modId xmlns:p14="http://schemas.microsoft.com/office/powerpoint/2010/main" val="2951769150"/>
              </p:ext>
            </p:extLst>
          </p:nvPr>
        </p:nvGraphicFramePr>
        <p:xfrm>
          <a:off x="2824964" y="2199440"/>
          <a:ext cx="6542072" cy="42747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Picture 8">
            <a:extLst>
              <a:ext uri="{FF2B5EF4-FFF2-40B4-BE49-F238E27FC236}">
                <a16:creationId xmlns:a16="http://schemas.microsoft.com/office/drawing/2014/main" id="{FBB85D54-B2BC-43A8-8B6F-77403AA7DE86}"/>
              </a:ext>
            </a:extLst>
          </p:cNvPr>
          <p:cNvPicPr>
            <a:picLocks noChangeAspect="1"/>
          </p:cNvPicPr>
          <p:nvPr/>
        </p:nvPicPr>
        <p:blipFill>
          <a:blip r:embed="rId7"/>
          <a:stretch>
            <a:fillRect/>
          </a:stretch>
        </p:blipFill>
        <p:spPr>
          <a:xfrm>
            <a:off x="1801465" y="1609949"/>
            <a:ext cx="9125146" cy="47778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7143904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6E28F2A-1337-4409-B1EF-0B278A88A84F}"/>
              </a:ext>
            </a:extLst>
          </p:cNvPr>
          <p:cNvSpPr/>
          <p:nvPr/>
        </p:nvSpPr>
        <p:spPr>
          <a:xfrm>
            <a:off x="0" y="0"/>
            <a:ext cx="12192000" cy="1169043"/>
          </a:xfrm>
          <a:prstGeom prst="rect">
            <a:avLst/>
          </a:prstGeom>
          <a:solidFill>
            <a:srgbClr val="1B74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8A1788-C6DD-4CFB-B57F-29F8BD80FC00}"/>
              </a:ext>
            </a:extLst>
          </p:cNvPr>
          <p:cNvSpPr>
            <a:spLocks noGrp="1"/>
          </p:cNvSpPr>
          <p:nvPr>
            <p:ph type="title"/>
          </p:nvPr>
        </p:nvSpPr>
        <p:spPr/>
        <p:txBody>
          <a:bodyPr/>
          <a:lstStyle/>
          <a:p>
            <a:r>
              <a:rPr lang="en-US" dirty="0"/>
              <a:t>Getting Started: The Ribbon</a:t>
            </a:r>
          </a:p>
        </p:txBody>
      </p:sp>
      <p:graphicFrame>
        <p:nvGraphicFramePr>
          <p:cNvPr id="6" name="Diagram 5">
            <a:extLst>
              <a:ext uri="{FF2B5EF4-FFF2-40B4-BE49-F238E27FC236}">
                <a16:creationId xmlns:a16="http://schemas.microsoft.com/office/drawing/2014/main" id="{5F526D40-D5D2-42B3-AACA-DF5428A3CF4A}"/>
              </a:ext>
            </a:extLst>
          </p:cNvPr>
          <p:cNvGraphicFramePr/>
          <p:nvPr/>
        </p:nvGraphicFramePr>
        <p:xfrm>
          <a:off x="2824964" y="2199440"/>
          <a:ext cx="6542072" cy="42747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Picture 8">
            <a:extLst>
              <a:ext uri="{FF2B5EF4-FFF2-40B4-BE49-F238E27FC236}">
                <a16:creationId xmlns:a16="http://schemas.microsoft.com/office/drawing/2014/main" id="{FBB85D54-B2BC-43A8-8B6F-77403AA7DE86}"/>
              </a:ext>
            </a:extLst>
          </p:cNvPr>
          <p:cNvPicPr>
            <a:picLocks noChangeAspect="1"/>
          </p:cNvPicPr>
          <p:nvPr/>
        </p:nvPicPr>
        <p:blipFill>
          <a:blip r:embed="rId7"/>
          <a:stretch>
            <a:fillRect/>
          </a:stretch>
        </p:blipFill>
        <p:spPr>
          <a:xfrm>
            <a:off x="1801465" y="1609949"/>
            <a:ext cx="9125146" cy="47778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42688343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6AE0524-DEB3-4C47-A0F1-F14F72B168A7}"/>
              </a:ext>
            </a:extLst>
          </p:cNvPr>
          <p:cNvSpPr txBox="1"/>
          <p:nvPr/>
        </p:nvSpPr>
        <p:spPr>
          <a:xfrm>
            <a:off x="694353" y="381000"/>
            <a:ext cx="7734300" cy="707886"/>
          </a:xfrm>
          <a:prstGeom prst="rect">
            <a:avLst/>
          </a:prstGeom>
          <a:noFill/>
        </p:spPr>
        <p:txBody>
          <a:bodyPr wrap="square" rtlCol="0">
            <a:spAutoFit/>
          </a:bodyPr>
          <a:lstStyle/>
          <a:p>
            <a:r>
              <a:rPr lang="en-US" sz="4000" dirty="0"/>
              <a:t>Distribute Content to Students</a:t>
            </a:r>
          </a:p>
        </p:txBody>
      </p:sp>
      <p:pic>
        <p:nvPicPr>
          <p:cNvPr id="2" name="Picture 1">
            <a:extLst>
              <a:ext uri="{FF2B5EF4-FFF2-40B4-BE49-F238E27FC236}">
                <a16:creationId xmlns:a16="http://schemas.microsoft.com/office/drawing/2014/main" id="{D1551DF0-0EB3-42E5-91EC-DDDF781FD96D}"/>
              </a:ext>
            </a:extLst>
          </p:cNvPr>
          <p:cNvPicPr>
            <a:picLocks noChangeAspect="1"/>
          </p:cNvPicPr>
          <p:nvPr/>
        </p:nvPicPr>
        <p:blipFill>
          <a:blip r:embed="rId2"/>
          <a:stretch>
            <a:fillRect/>
          </a:stretch>
        </p:blipFill>
        <p:spPr>
          <a:xfrm>
            <a:off x="353008" y="1617192"/>
            <a:ext cx="7001847" cy="1828607"/>
          </a:xfrm>
          <a:prstGeom prst="rect">
            <a:avLst/>
          </a:prstGeom>
          <a:ln w="57150">
            <a:solidFill>
              <a:srgbClr val="B4019E"/>
            </a:solidFill>
          </a:ln>
        </p:spPr>
      </p:pic>
      <p:pic>
        <p:nvPicPr>
          <p:cNvPr id="3" name="Picture 2">
            <a:extLst>
              <a:ext uri="{FF2B5EF4-FFF2-40B4-BE49-F238E27FC236}">
                <a16:creationId xmlns:a16="http://schemas.microsoft.com/office/drawing/2014/main" id="{79A63D5E-7CEE-40E7-A28A-D7B44CD07DEA}"/>
              </a:ext>
            </a:extLst>
          </p:cNvPr>
          <p:cNvPicPr>
            <a:picLocks noChangeAspect="1"/>
          </p:cNvPicPr>
          <p:nvPr/>
        </p:nvPicPr>
        <p:blipFill>
          <a:blip r:embed="rId3"/>
          <a:stretch>
            <a:fillRect/>
          </a:stretch>
        </p:blipFill>
        <p:spPr>
          <a:xfrm>
            <a:off x="342900" y="3775010"/>
            <a:ext cx="7001847" cy="1474351"/>
          </a:xfrm>
          <a:prstGeom prst="rect">
            <a:avLst/>
          </a:prstGeom>
          <a:ln w="57150">
            <a:solidFill>
              <a:srgbClr val="B4019E"/>
            </a:solidFill>
          </a:ln>
        </p:spPr>
      </p:pic>
      <p:pic>
        <p:nvPicPr>
          <p:cNvPr id="4" name="Picture 3">
            <a:extLst>
              <a:ext uri="{FF2B5EF4-FFF2-40B4-BE49-F238E27FC236}">
                <a16:creationId xmlns:a16="http://schemas.microsoft.com/office/drawing/2014/main" id="{293E867A-F694-454E-BCD2-96348E5E794A}"/>
              </a:ext>
            </a:extLst>
          </p:cNvPr>
          <p:cNvPicPr>
            <a:picLocks noChangeAspect="1"/>
          </p:cNvPicPr>
          <p:nvPr/>
        </p:nvPicPr>
        <p:blipFill>
          <a:blip r:embed="rId4"/>
          <a:stretch>
            <a:fillRect/>
          </a:stretch>
        </p:blipFill>
        <p:spPr>
          <a:xfrm>
            <a:off x="7457970" y="1617191"/>
            <a:ext cx="4600748" cy="3632169"/>
          </a:xfrm>
          <a:prstGeom prst="rect">
            <a:avLst/>
          </a:prstGeom>
          <a:ln w="57150">
            <a:solidFill>
              <a:srgbClr val="B4019E"/>
            </a:solidFill>
          </a:ln>
        </p:spPr>
      </p:pic>
    </p:spTree>
    <p:extLst>
      <p:ext uri="{BB962C8B-B14F-4D97-AF65-F5344CB8AC3E}">
        <p14:creationId xmlns:p14="http://schemas.microsoft.com/office/powerpoint/2010/main" val="248196517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6AE0524-DEB3-4C47-A0F1-F14F72B168A7}"/>
              </a:ext>
            </a:extLst>
          </p:cNvPr>
          <p:cNvSpPr txBox="1"/>
          <p:nvPr/>
        </p:nvSpPr>
        <p:spPr>
          <a:xfrm>
            <a:off x="694353" y="381000"/>
            <a:ext cx="7734300" cy="707886"/>
          </a:xfrm>
          <a:prstGeom prst="rect">
            <a:avLst/>
          </a:prstGeom>
          <a:noFill/>
        </p:spPr>
        <p:txBody>
          <a:bodyPr wrap="square" rtlCol="0">
            <a:spAutoFit/>
          </a:bodyPr>
          <a:lstStyle/>
          <a:p>
            <a:r>
              <a:rPr lang="en-US" sz="4000" dirty="0"/>
              <a:t>Student Collaboration</a:t>
            </a:r>
          </a:p>
        </p:txBody>
      </p:sp>
      <p:sp>
        <p:nvSpPr>
          <p:cNvPr id="4" name="Rectangle 3">
            <a:extLst>
              <a:ext uri="{FF2B5EF4-FFF2-40B4-BE49-F238E27FC236}">
                <a16:creationId xmlns:a16="http://schemas.microsoft.com/office/drawing/2014/main" id="{C50F20BA-EFC6-4FAB-926E-45B5EC9B3AE1}"/>
              </a:ext>
            </a:extLst>
          </p:cNvPr>
          <p:cNvSpPr>
            <a:spLocks noChangeArrowheads="1"/>
          </p:cNvSpPr>
          <p:nvPr/>
        </p:nvSpPr>
        <p:spPr bwMode="auto">
          <a:xfrm>
            <a:off x="609600" y="1956524"/>
            <a:ext cx="5864997" cy="45858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400" dirty="0">
                <a:latin typeface="Segoe UI" panose="020B0502040204020203" pitchFamily="34" charset="0"/>
                <a:cs typeface="Segoe UI" panose="020B0502040204020203" pitchFamily="34" charset="0"/>
              </a:rPr>
              <a:t>Th</a:t>
            </a:r>
            <a:r>
              <a:rPr kumimoji="0" lang="en-US" altLang="en-US" sz="14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e Collaboration Space is open to everyone in a class, and all class members can read or write on anything in this part of the notebook. Teachers and students can also create new sections and pages in ways that work best for them.  </a:t>
            </a:r>
            <a:endParaRPr kumimoji="0" lang="en-US" altLang="en-US" sz="14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endParaRPr kumimoji="0" lang="en-US" altLang="en-US" sz="14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For example, if a class splits up into group projects, each group could create a section where students can work together and share project-related materials. Educators can also </a:t>
            </a:r>
            <a:r>
              <a:rPr kumimoji="0" lang="en-US" altLang="en-US" sz="1400" b="0" i="0" u="none" strike="noStrike" cap="none" normalizeH="0" baseline="0" dirty="0">
                <a:ln>
                  <a:noFill/>
                </a:ln>
                <a:effectLst/>
                <a:latin typeface="Segoe UI" panose="020B0502040204020203" pitchFamily="34" charset="0"/>
                <a:cs typeface="Segoe UI" panose="020B0502040204020203" pitchFamily="34" charset="0"/>
                <a:hlinkClick r:id="rId2">
                  <a:extLst>
                    <a:ext uri="{A12FA001-AC4F-418D-AE19-62706E023703}">
                      <ahyp:hlinkClr xmlns:ahyp="http://schemas.microsoft.com/office/drawing/2018/hyperlinkcolor" val="tx"/>
                    </a:ext>
                  </a:extLst>
                </a:hlinkClick>
              </a:rPr>
              <a:t>create private sections</a:t>
            </a:r>
            <a:r>
              <a:rPr kumimoji="0" lang="en-US" altLang="en-US" sz="1400" b="0" i="0" u="none" strike="noStrike" cap="none" normalizeH="0" baseline="0" dirty="0">
                <a:ln>
                  <a:noFill/>
                </a:ln>
                <a:effectLst/>
                <a:latin typeface="Segoe UI" panose="020B0502040204020203" pitchFamily="34" charset="0"/>
                <a:cs typeface="Segoe UI" panose="020B0502040204020203" pitchFamily="34" charset="0"/>
              </a:rPr>
              <a:t> in the</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400" dirty="0">
              <a:latin typeface="Segoe UI" panose="020B0502040204020203" pitchFamily="34" charset="0"/>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effectLst/>
                <a:latin typeface="Segoe UI" panose="020B0502040204020203" pitchFamily="34" charset="0"/>
                <a:cs typeface="Segoe UI" panose="020B0502040204020203" pitchFamily="34" charset="0"/>
              </a:rPr>
              <a:t>Better than a document on a file share or shared drive</a:t>
            </a:r>
            <a:r>
              <a:rPr kumimoji="0" lang="en-US" altLang="en-US" sz="1400" b="0" i="0" u="none" strike="noStrike" cap="none" normalizeH="0" baseline="0" dirty="0">
                <a:ln>
                  <a:noFill/>
                </a:ln>
                <a:effectLst/>
                <a:latin typeface="Segoe UI" panose="020B0502040204020203" pitchFamily="34" charset="0"/>
                <a:cs typeface="Segoe UI" panose="020B0502040204020203" pitchFamily="34" charset="0"/>
              </a:rPr>
              <a:t> </a:t>
            </a:r>
            <a:endParaRPr kumimoji="0" lang="en-US" altLang="en-US" sz="1400" b="0" i="0" u="none" strike="noStrike" cap="none" normalizeH="0" baseline="0" dirty="0">
              <a:ln>
                <a:noFill/>
              </a:ln>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effectLst/>
                <a:latin typeface="Segoe UI" panose="020B0502040204020203" pitchFamily="34" charset="0"/>
                <a:cs typeface="Segoe UI" panose="020B0502040204020203" pitchFamily="34" charset="0"/>
              </a:rPr>
              <a:t>With a Collaboration Space: </a:t>
            </a:r>
            <a:endParaRPr kumimoji="0" lang="en-US" altLang="en-US" sz="1400" b="0" i="0" u="none" strike="noStrike" cap="none" normalizeH="0" baseline="0" dirty="0">
              <a:ln>
                <a:noFill/>
              </a:ln>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effectLst/>
                <a:latin typeface="Segoe UI" panose="020B0502040204020203" pitchFamily="34" charset="0"/>
                <a:cs typeface="Segoe UI" panose="020B0502040204020203" pitchFamily="34" charset="0"/>
              </a:rPr>
              <a:t>Multiple people can edit a document at the same time. </a:t>
            </a:r>
            <a:endParaRPr kumimoji="0" lang="en-US" altLang="en-US" sz="1400" b="0" i="0" u="none" strike="noStrike" cap="none" normalizeH="0" baseline="0" dirty="0">
              <a:ln>
                <a:noFill/>
              </a:ln>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effectLst/>
                <a:latin typeface="Segoe UI" panose="020B0502040204020203" pitchFamily="34" charset="0"/>
                <a:cs typeface="Segoe UI" panose="020B0502040204020203" pitchFamily="34" charset="0"/>
              </a:rPr>
              <a:t>Changes are merged automatically. </a:t>
            </a:r>
            <a:endParaRPr kumimoji="0" lang="en-US" altLang="en-US" sz="1400" b="0" i="0" u="none" strike="noStrike" cap="none" normalizeH="0" baseline="0" dirty="0">
              <a:ln>
                <a:noFill/>
              </a:ln>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effectLst/>
                <a:latin typeface="Segoe UI" panose="020B0502040204020203" pitchFamily="34" charset="0"/>
                <a:cs typeface="Segoe UI" panose="020B0502040204020203" pitchFamily="34" charset="0"/>
              </a:rPr>
              <a:t>The Collaboration Space section group is available offline for everyone</a:t>
            </a:r>
            <a:r>
              <a:rPr kumimoji="0" lang="en-US" altLang="en-US" sz="14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endParaRPr kumimoji="0" lang="en-US" altLang="en-US" sz="1400" b="0" i="0" u="none" strike="noStrike" cap="none" normalizeH="0" baseline="0" dirty="0">
              <a:ln>
                <a:noFill/>
              </a:ln>
              <a:solidFill>
                <a:srgbClr val="000000"/>
              </a:solidFill>
              <a:effectLst/>
              <a:latin typeface="Verdana" panose="020B060403050404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 </a:t>
            </a:r>
            <a:endParaRPr kumimoji="0" lang="en-US" altLang="en-US" sz="14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Keep your class "on the same page."</a:t>
            </a:r>
            <a:r>
              <a:rPr kumimoji="0" lang="en-US" altLang="en-US" sz="14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endParaRPr kumimoji="0" lang="en-US" altLang="en-US" sz="14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The Collaboration Space is great for storing: </a:t>
            </a:r>
            <a:endParaRPr kumimoji="0" lang="en-US" altLang="en-US" sz="14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Class project vision and brainstorming ideas </a:t>
            </a:r>
            <a:endParaRPr kumimoji="0" lang="en-US" altLang="en-US" sz="14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Supporting materials collected by group members </a:t>
            </a:r>
            <a:endParaRPr kumimoji="0" lang="en-US" altLang="en-US" sz="14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4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To-do lists for students to mark off </a:t>
            </a:r>
            <a:endParaRPr kumimoji="0" lang="en-US" altLang="en-US" sz="1400" b="0" i="0" u="none" strike="noStrike" cap="none" normalizeH="0" baseline="0" dirty="0">
              <a:ln>
                <a:noFill/>
              </a:ln>
              <a:solidFill>
                <a:srgbClr val="000000"/>
              </a:solidFill>
              <a:effectLst/>
              <a:latin typeface="Verdana" panose="020B060403050404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2052" name="Picture 4">
            <a:extLst>
              <a:ext uri="{FF2B5EF4-FFF2-40B4-BE49-F238E27FC236}">
                <a16:creationId xmlns:a16="http://schemas.microsoft.com/office/drawing/2014/main" id="{090768DA-75C4-4804-ADC5-A86BD78AFC9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16316" y="1098217"/>
            <a:ext cx="5257800" cy="52578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921283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921">
                <a:gradFill>
                  <a:gsLst>
                    <a:gs pos="2917">
                      <a:schemeClr val="tx1">
                        <a:lumMod val="75000"/>
                      </a:schemeClr>
                    </a:gs>
                    <a:gs pos="100000">
                      <a:schemeClr val="tx1">
                        <a:lumMod val="75000"/>
                      </a:schemeClr>
                    </a:gs>
                  </a:gsLst>
                  <a:lin ang="5400000" scaled="0"/>
                </a:gradFill>
              </a:rPr>
              <a:t>Your </a:t>
            </a:r>
            <a:r>
              <a:rPr lang="en-US" sz="3921" dirty="0">
                <a:gradFill>
                  <a:gsLst>
                    <a:gs pos="2917">
                      <a:schemeClr val="tx1">
                        <a:lumMod val="75000"/>
                      </a:schemeClr>
                    </a:gs>
                    <a:gs pos="100000">
                      <a:schemeClr val="tx1">
                        <a:lumMod val="75000"/>
                      </a:schemeClr>
                    </a:gs>
                  </a:gsLst>
                  <a:lin ang="5400000" scaled="0"/>
                </a:gradFill>
              </a:rPr>
              <a:t>Presenters</a:t>
            </a:r>
          </a:p>
        </p:txBody>
      </p:sp>
      <p:sp>
        <p:nvSpPr>
          <p:cNvPr id="9" name="Rectangle 8" descr="headshot"/>
          <p:cNvSpPr/>
          <p:nvPr/>
        </p:nvSpPr>
        <p:spPr>
          <a:xfrm>
            <a:off x="3445849" y="1138267"/>
            <a:ext cx="3200400" cy="27432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Rectangle 35"/>
          <p:cNvSpPr/>
          <p:nvPr/>
        </p:nvSpPr>
        <p:spPr>
          <a:xfrm>
            <a:off x="7178210" y="1142281"/>
            <a:ext cx="3717348" cy="2743200"/>
          </a:xfrm>
          <a:prstGeom prst="rect">
            <a:avLst/>
          </a:prstGeom>
          <a:solidFill>
            <a:srgbClr val="7729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Krista Walker</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rogram Manager for Professional Development</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lang="en-US"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Boxlight</a:t>
            </a:r>
            <a:r>
              <a:rPr lang="en-US"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 – EOS Education</a:t>
            </a: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lang="en-US"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Phoenix, Arizona</a:t>
            </a:r>
          </a:p>
          <a:p>
            <a:pPr marL="0" marR="0" lvl="0" indent="0" algn="l" defTabSz="932472" rtl="0" eaLnBrk="1" fontAlgn="base" latinLnBrk="0" hangingPunct="1">
              <a:lnSpc>
                <a:spcPct val="100000"/>
              </a:lnSpc>
              <a:spcBef>
                <a:spcPct val="0"/>
              </a:spcBef>
              <a:spcAft>
                <a:spcPct val="0"/>
              </a:spcAft>
              <a:buClrTx/>
              <a:buSzTx/>
              <a:buFontTx/>
              <a:buNone/>
              <a:tabLst/>
              <a:defRPr/>
            </a:pPr>
            <a:endParaRPr lang="en-US"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a:p>
            <a:pPr defTabSz="932472" fontAlgn="base">
              <a:spcBef>
                <a:spcPct val="0"/>
              </a:spcBef>
              <a:spcAft>
                <a:spcPct val="0"/>
              </a:spcAft>
              <a:defRPr/>
            </a:pPr>
            <a:r>
              <a:rPr lang="en-US"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k</a:t>
            </a:r>
            <a:r>
              <a:rPr kumimoji="0" lang="en-US" sz="18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ista</a:t>
            </a: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t>
            </a:r>
            <a:r>
              <a:rPr lang="en-US"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walker@boxlight.com</a:t>
            </a: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7" name="Rectangle 36"/>
          <p:cNvSpPr/>
          <p:nvPr/>
        </p:nvSpPr>
        <p:spPr>
          <a:xfrm>
            <a:off x="3445849" y="3962400"/>
            <a:ext cx="3200400" cy="2743200"/>
          </a:xfrm>
          <a:prstGeom prst="rect">
            <a:avLst/>
          </a:prstGeom>
          <a:solidFill>
            <a:srgbClr val="D01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8" name="Rectangle 37"/>
          <p:cNvSpPr/>
          <p:nvPr/>
        </p:nvSpPr>
        <p:spPr>
          <a:xfrm>
            <a:off x="7178209" y="3962400"/>
            <a:ext cx="3717349" cy="2743200"/>
          </a:xfrm>
          <a:prstGeom prst="rect">
            <a:avLst/>
          </a:prstGeom>
          <a:solidFill>
            <a:srgbClr val="5B67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Taylor-Ann Charle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igital Learning Specialist</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lang="en-US" dirty="0" err="1">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Boxlight</a:t>
            </a:r>
            <a:r>
              <a:rPr lang="en-US"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EOS Education</a:t>
            </a:r>
          </a:p>
          <a:p>
            <a:pPr marL="0" marR="0" lvl="0" indent="0" algn="l" defTabSz="932472" rtl="0" eaLnBrk="1" fontAlgn="base" latinLnBrk="0" hangingPunct="1">
              <a:lnSpc>
                <a:spcPct val="100000"/>
              </a:lnSpc>
              <a:spcBef>
                <a:spcPct val="0"/>
              </a:spcBef>
              <a:spcAft>
                <a:spcPct val="0"/>
              </a:spcAft>
              <a:buClrTx/>
              <a:buSzTx/>
              <a:buFontTx/>
              <a:buNone/>
              <a:tabLst/>
              <a:defRPr/>
            </a:pPr>
            <a:endParaRPr lang="en-US"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hoenix, Arizona</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lang="en-US"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taylor-ann.charles@boxlight.com</a:t>
            </a:r>
            <a:endPar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pic>
        <p:nvPicPr>
          <p:cNvPr id="57" name="Picture 56" descr="comment icon"/>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6600" y="2528755"/>
            <a:ext cx="428930" cy="428930"/>
          </a:xfrm>
          <a:prstGeom prst="rect">
            <a:avLst/>
          </a:prstGeom>
        </p:spPr>
      </p:pic>
      <p:pic>
        <p:nvPicPr>
          <p:cNvPr id="20" name="Picture 19" descr="A person smiling for the camera&#10;&#10;Description generated with very high confidence">
            <a:extLst>
              <a:ext uri="{FF2B5EF4-FFF2-40B4-BE49-F238E27FC236}">
                <a16:creationId xmlns:a16="http://schemas.microsoft.com/office/drawing/2014/main" id="{AA3BE224-1AE6-434B-B4E9-A68672C24C5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38219" y="1419456"/>
            <a:ext cx="1905000" cy="224594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8" name="Picture 17" descr="A picture containing drawing&#10;&#10;Description automatically generated">
            <a:extLst>
              <a:ext uri="{FF2B5EF4-FFF2-40B4-BE49-F238E27FC236}">
                <a16:creationId xmlns:a16="http://schemas.microsoft.com/office/drawing/2014/main" id="{9AB032EF-C0F9-4D5F-A1FA-A04C03982BC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3668" y="2228978"/>
            <a:ext cx="2440695" cy="2440695"/>
          </a:xfrm>
          <a:prstGeom prst="rect">
            <a:avLst/>
          </a:prstGeom>
        </p:spPr>
      </p:pic>
      <p:pic>
        <p:nvPicPr>
          <p:cNvPr id="4" name="Picture 3">
            <a:extLst>
              <a:ext uri="{FF2B5EF4-FFF2-40B4-BE49-F238E27FC236}">
                <a16:creationId xmlns:a16="http://schemas.microsoft.com/office/drawing/2014/main" id="{1E50B6CE-64D6-40A5-9885-F8A0235CF738}"/>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3874955" y="4383371"/>
            <a:ext cx="2231527" cy="196360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6834227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6AE0524-DEB3-4C47-A0F1-F14F72B168A7}"/>
              </a:ext>
            </a:extLst>
          </p:cNvPr>
          <p:cNvSpPr txBox="1"/>
          <p:nvPr/>
        </p:nvSpPr>
        <p:spPr>
          <a:xfrm>
            <a:off x="694353" y="381000"/>
            <a:ext cx="7734300" cy="707886"/>
          </a:xfrm>
          <a:prstGeom prst="rect">
            <a:avLst/>
          </a:prstGeom>
          <a:noFill/>
        </p:spPr>
        <p:txBody>
          <a:bodyPr wrap="square" rtlCol="0">
            <a:spAutoFit/>
          </a:bodyPr>
          <a:lstStyle/>
          <a:p>
            <a:r>
              <a:rPr lang="en-US" sz="4000" dirty="0"/>
              <a:t>Channel Notes</a:t>
            </a:r>
          </a:p>
        </p:txBody>
      </p:sp>
      <p:pic>
        <p:nvPicPr>
          <p:cNvPr id="2" name="Picture 1">
            <a:extLst>
              <a:ext uri="{FF2B5EF4-FFF2-40B4-BE49-F238E27FC236}">
                <a16:creationId xmlns:a16="http://schemas.microsoft.com/office/drawing/2014/main" id="{2A52A6FF-DA2F-4AB0-ABD8-295756172DEA}"/>
              </a:ext>
            </a:extLst>
          </p:cNvPr>
          <p:cNvPicPr>
            <a:picLocks noChangeAspect="1"/>
          </p:cNvPicPr>
          <p:nvPr/>
        </p:nvPicPr>
        <p:blipFill>
          <a:blip r:embed="rId2"/>
          <a:stretch>
            <a:fillRect/>
          </a:stretch>
        </p:blipFill>
        <p:spPr>
          <a:xfrm>
            <a:off x="1104900" y="1485900"/>
            <a:ext cx="10436269" cy="4529138"/>
          </a:xfrm>
          <a:prstGeom prst="rect">
            <a:avLst/>
          </a:prstGeom>
          <a:ln w="57150">
            <a:solidFill>
              <a:srgbClr val="B4019E"/>
            </a:solidFill>
          </a:ln>
        </p:spPr>
      </p:pic>
    </p:spTree>
    <p:extLst>
      <p:ext uri="{BB962C8B-B14F-4D97-AF65-F5344CB8AC3E}">
        <p14:creationId xmlns:p14="http://schemas.microsoft.com/office/powerpoint/2010/main" val="135703027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eeform 17">
            <a:extLst>
              <a:ext uri="{FF2B5EF4-FFF2-40B4-BE49-F238E27FC236}">
                <a16:creationId xmlns:a16="http://schemas.microsoft.com/office/drawing/2014/main" id="{8026CCCD-3EFE-BB48-A2D9-0C3E826852F6}"/>
              </a:ext>
            </a:extLst>
          </p:cNvPr>
          <p:cNvSpPr/>
          <p:nvPr/>
        </p:nvSpPr>
        <p:spPr>
          <a:xfrm>
            <a:off x="-55006" y="1100391"/>
            <a:ext cx="12270478" cy="5858579"/>
          </a:xfrm>
          <a:custGeom>
            <a:avLst/>
            <a:gdLst>
              <a:gd name="connsiteX0" fmla="*/ 669860 w 8928188"/>
              <a:gd name="connsiteY0" fmla="*/ 1817245 h 4455447"/>
              <a:gd name="connsiteX1" fmla="*/ 669860 w 8928188"/>
              <a:gd name="connsiteY1" fmla="*/ 2399554 h 4455447"/>
              <a:gd name="connsiteX2" fmla="*/ 5186695 w 8928188"/>
              <a:gd name="connsiteY2" fmla="*/ 2399554 h 4455447"/>
              <a:gd name="connsiteX3" fmla="*/ 5186695 w 8928188"/>
              <a:gd name="connsiteY3" fmla="*/ 1817245 h 4455447"/>
              <a:gd name="connsiteX4" fmla="*/ 0 w 8928188"/>
              <a:gd name="connsiteY4" fmla="*/ 0 h 4455447"/>
              <a:gd name="connsiteX5" fmla="*/ 8928188 w 8928188"/>
              <a:gd name="connsiteY5" fmla="*/ 0 h 4455447"/>
              <a:gd name="connsiteX6" fmla="*/ 8928188 w 8928188"/>
              <a:gd name="connsiteY6" fmla="*/ 1257690 h 4455447"/>
              <a:gd name="connsiteX7" fmla="*/ 8928188 w 8928188"/>
              <a:gd name="connsiteY7" fmla="*/ 1817245 h 4455447"/>
              <a:gd name="connsiteX8" fmla="*/ 8928188 w 8928188"/>
              <a:gd name="connsiteY8" fmla="*/ 2399554 h 4455447"/>
              <a:gd name="connsiteX9" fmla="*/ 8928188 w 8928188"/>
              <a:gd name="connsiteY9" fmla="*/ 3313583 h 4455447"/>
              <a:gd name="connsiteX10" fmla="*/ 8928188 w 8928188"/>
              <a:gd name="connsiteY10" fmla="*/ 4455447 h 4455447"/>
              <a:gd name="connsiteX11" fmla="*/ 0 w 8928188"/>
              <a:gd name="connsiteY11" fmla="*/ 4455447 h 4455447"/>
              <a:gd name="connsiteX12" fmla="*/ 0 w 8928188"/>
              <a:gd name="connsiteY12" fmla="*/ 2399554 h 4455447"/>
              <a:gd name="connsiteX13" fmla="*/ 18568 w 8928188"/>
              <a:gd name="connsiteY13" fmla="*/ 2399554 h 4455447"/>
              <a:gd name="connsiteX14" fmla="*/ 18568 w 8928188"/>
              <a:gd name="connsiteY14" fmla="*/ 1817245 h 4455447"/>
              <a:gd name="connsiteX15" fmla="*/ 0 w 8928188"/>
              <a:gd name="connsiteY15" fmla="*/ 1817245 h 4455447"/>
              <a:gd name="connsiteX0" fmla="*/ 669860 w 10630864"/>
              <a:gd name="connsiteY0" fmla="*/ 2353273 h 4991475"/>
              <a:gd name="connsiteX1" fmla="*/ 669860 w 10630864"/>
              <a:gd name="connsiteY1" fmla="*/ 2935582 h 4991475"/>
              <a:gd name="connsiteX2" fmla="*/ 5186695 w 10630864"/>
              <a:gd name="connsiteY2" fmla="*/ 2935582 h 4991475"/>
              <a:gd name="connsiteX3" fmla="*/ 5186695 w 10630864"/>
              <a:gd name="connsiteY3" fmla="*/ 2353273 h 4991475"/>
              <a:gd name="connsiteX4" fmla="*/ 669860 w 10630864"/>
              <a:gd name="connsiteY4" fmla="*/ 2353273 h 4991475"/>
              <a:gd name="connsiteX5" fmla="*/ 0 w 10630864"/>
              <a:gd name="connsiteY5" fmla="*/ 536028 h 4991475"/>
              <a:gd name="connsiteX6" fmla="*/ 10630864 w 10630864"/>
              <a:gd name="connsiteY6" fmla="*/ 0 h 4991475"/>
              <a:gd name="connsiteX7" fmla="*/ 8928188 w 10630864"/>
              <a:gd name="connsiteY7" fmla="*/ 1793718 h 4991475"/>
              <a:gd name="connsiteX8" fmla="*/ 8928188 w 10630864"/>
              <a:gd name="connsiteY8" fmla="*/ 2353273 h 4991475"/>
              <a:gd name="connsiteX9" fmla="*/ 8928188 w 10630864"/>
              <a:gd name="connsiteY9" fmla="*/ 2935582 h 4991475"/>
              <a:gd name="connsiteX10" fmla="*/ 8928188 w 10630864"/>
              <a:gd name="connsiteY10" fmla="*/ 3849611 h 4991475"/>
              <a:gd name="connsiteX11" fmla="*/ 8928188 w 10630864"/>
              <a:gd name="connsiteY11" fmla="*/ 4991475 h 4991475"/>
              <a:gd name="connsiteX12" fmla="*/ 0 w 10630864"/>
              <a:gd name="connsiteY12" fmla="*/ 4991475 h 4991475"/>
              <a:gd name="connsiteX13" fmla="*/ 0 w 10630864"/>
              <a:gd name="connsiteY13" fmla="*/ 2935582 h 4991475"/>
              <a:gd name="connsiteX14" fmla="*/ 18568 w 10630864"/>
              <a:gd name="connsiteY14" fmla="*/ 2935582 h 4991475"/>
              <a:gd name="connsiteX15" fmla="*/ 18568 w 10630864"/>
              <a:gd name="connsiteY15" fmla="*/ 2353273 h 4991475"/>
              <a:gd name="connsiteX16" fmla="*/ 0 w 10630864"/>
              <a:gd name="connsiteY16" fmla="*/ 2353273 h 4991475"/>
              <a:gd name="connsiteX17" fmla="*/ 0 w 10630864"/>
              <a:gd name="connsiteY17" fmla="*/ 536028 h 4991475"/>
              <a:gd name="connsiteX0" fmla="*/ 669860 w 10630864"/>
              <a:gd name="connsiteY0" fmla="*/ 2353273 h 4991475"/>
              <a:gd name="connsiteX1" fmla="*/ 669860 w 10630864"/>
              <a:gd name="connsiteY1" fmla="*/ 2935582 h 4991475"/>
              <a:gd name="connsiteX2" fmla="*/ 5186695 w 10630864"/>
              <a:gd name="connsiteY2" fmla="*/ 2935582 h 4991475"/>
              <a:gd name="connsiteX3" fmla="*/ 5186695 w 10630864"/>
              <a:gd name="connsiteY3" fmla="*/ 2353273 h 4991475"/>
              <a:gd name="connsiteX4" fmla="*/ 669860 w 10630864"/>
              <a:gd name="connsiteY4" fmla="*/ 2353273 h 4991475"/>
              <a:gd name="connsiteX5" fmla="*/ 0 w 10630864"/>
              <a:gd name="connsiteY5" fmla="*/ 536028 h 4991475"/>
              <a:gd name="connsiteX6" fmla="*/ 10630864 w 10630864"/>
              <a:gd name="connsiteY6" fmla="*/ 0 h 4991475"/>
              <a:gd name="connsiteX7" fmla="*/ 8928188 w 10630864"/>
              <a:gd name="connsiteY7" fmla="*/ 2353273 h 4991475"/>
              <a:gd name="connsiteX8" fmla="*/ 8928188 w 10630864"/>
              <a:gd name="connsiteY8" fmla="*/ 2935582 h 4991475"/>
              <a:gd name="connsiteX9" fmla="*/ 8928188 w 10630864"/>
              <a:gd name="connsiteY9" fmla="*/ 3849611 h 4991475"/>
              <a:gd name="connsiteX10" fmla="*/ 8928188 w 10630864"/>
              <a:gd name="connsiteY10" fmla="*/ 4991475 h 4991475"/>
              <a:gd name="connsiteX11" fmla="*/ 0 w 10630864"/>
              <a:gd name="connsiteY11" fmla="*/ 4991475 h 4991475"/>
              <a:gd name="connsiteX12" fmla="*/ 0 w 10630864"/>
              <a:gd name="connsiteY12" fmla="*/ 2935582 h 4991475"/>
              <a:gd name="connsiteX13" fmla="*/ 18568 w 10630864"/>
              <a:gd name="connsiteY13" fmla="*/ 2935582 h 4991475"/>
              <a:gd name="connsiteX14" fmla="*/ 18568 w 10630864"/>
              <a:gd name="connsiteY14" fmla="*/ 2353273 h 4991475"/>
              <a:gd name="connsiteX15" fmla="*/ 0 w 10630864"/>
              <a:gd name="connsiteY15" fmla="*/ 2353273 h 4991475"/>
              <a:gd name="connsiteX16" fmla="*/ 0 w 10630864"/>
              <a:gd name="connsiteY16" fmla="*/ 536028 h 4991475"/>
              <a:gd name="connsiteX0" fmla="*/ 669860 w 10630864"/>
              <a:gd name="connsiteY0" fmla="*/ 2353273 h 4991475"/>
              <a:gd name="connsiteX1" fmla="*/ 669860 w 10630864"/>
              <a:gd name="connsiteY1" fmla="*/ 2935582 h 4991475"/>
              <a:gd name="connsiteX2" fmla="*/ 5186695 w 10630864"/>
              <a:gd name="connsiteY2" fmla="*/ 2935582 h 4991475"/>
              <a:gd name="connsiteX3" fmla="*/ 5186695 w 10630864"/>
              <a:gd name="connsiteY3" fmla="*/ 2353273 h 4991475"/>
              <a:gd name="connsiteX4" fmla="*/ 669860 w 10630864"/>
              <a:gd name="connsiteY4" fmla="*/ 2353273 h 4991475"/>
              <a:gd name="connsiteX5" fmla="*/ 0 w 10630864"/>
              <a:gd name="connsiteY5" fmla="*/ 536028 h 4991475"/>
              <a:gd name="connsiteX6" fmla="*/ 10630864 w 10630864"/>
              <a:gd name="connsiteY6" fmla="*/ 0 h 4991475"/>
              <a:gd name="connsiteX7" fmla="*/ 8928188 w 10630864"/>
              <a:gd name="connsiteY7" fmla="*/ 2935582 h 4991475"/>
              <a:gd name="connsiteX8" fmla="*/ 8928188 w 10630864"/>
              <a:gd name="connsiteY8" fmla="*/ 3849611 h 4991475"/>
              <a:gd name="connsiteX9" fmla="*/ 8928188 w 10630864"/>
              <a:gd name="connsiteY9" fmla="*/ 4991475 h 4991475"/>
              <a:gd name="connsiteX10" fmla="*/ 0 w 10630864"/>
              <a:gd name="connsiteY10" fmla="*/ 4991475 h 4991475"/>
              <a:gd name="connsiteX11" fmla="*/ 0 w 10630864"/>
              <a:gd name="connsiteY11" fmla="*/ 2935582 h 4991475"/>
              <a:gd name="connsiteX12" fmla="*/ 18568 w 10630864"/>
              <a:gd name="connsiteY12" fmla="*/ 2935582 h 4991475"/>
              <a:gd name="connsiteX13" fmla="*/ 18568 w 10630864"/>
              <a:gd name="connsiteY13" fmla="*/ 2353273 h 4991475"/>
              <a:gd name="connsiteX14" fmla="*/ 0 w 10630864"/>
              <a:gd name="connsiteY14" fmla="*/ 2353273 h 4991475"/>
              <a:gd name="connsiteX15" fmla="*/ 0 w 10630864"/>
              <a:gd name="connsiteY15" fmla="*/ 536028 h 4991475"/>
              <a:gd name="connsiteX0" fmla="*/ 669860 w 10630864"/>
              <a:gd name="connsiteY0" fmla="*/ 2353273 h 4991475"/>
              <a:gd name="connsiteX1" fmla="*/ 669860 w 10630864"/>
              <a:gd name="connsiteY1" fmla="*/ 2935582 h 4991475"/>
              <a:gd name="connsiteX2" fmla="*/ 5186695 w 10630864"/>
              <a:gd name="connsiteY2" fmla="*/ 2935582 h 4991475"/>
              <a:gd name="connsiteX3" fmla="*/ 5186695 w 10630864"/>
              <a:gd name="connsiteY3" fmla="*/ 2353273 h 4991475"/>
              <a:gd name="connsiteX4" fmla="*/ 669860 w 10630864"/>
              <a:gd name="connsiteY4" fmla="*/ 2353273 h 4991475"/>
              <a:gd name="connsiteX5" fmla="*/ 0 w 10630864"/>
              <a:gd name="connsiteY5" fmla="*/ 536028 h 4991475"/>
              <a:gd name="connsiteX6" fmla="*/ 10630864 w 10630864"/>
              <a:gd name="connsiteY6" fmla="*/ 0 h 4991475"/>
              <a:gd name="connsiteX7" fmla="*/ 8928188 w 10630864"/>
              <a:gd name="connsiteY7" fmla="*/ 3849611 h 4991475"/>
              <a:gd name="connsiteX8" fmla="*/ 8928188 w 10630864"/>
              <a:gd name="connsiteY8" fmla="*/ 4991475 h 4991475"/>
              <a:gd name="connsiteX9" fmla="*/ 0 w 10630864"/>
              <a:gd name="connsiteY9" fmla="*/ 4991475 h 4991475"/>
              <a:gd name="connsiteX10" fmla="*/ 0 w 10630864"/>
              <a:gd name="connsiteY10" fmla="*/ 2935582 h 4991475"/>
              <a:gd name="connsiteX11" fmla="*/ 18568 w 10630864"/>
              <a:gd name="connsiteY11" fmla="*/ 2935582 h 4991475"/>
              <a:gd name="connsiteX12" fmla="*/ 18568 w 10630864"/>
              <a:gd name="connsiteY12" fmla="*/ 2353273 h 4991475"/>
              <a:gd name="connsiteX13" fmla="*/ 0 w 10630864"/>
              <a:gd name="connsiteY13" fmla="*/ 2353273 h 4991475"/>
              <a:gd name="connsiteX14" fmla="*/ 0 w 10630864"/>
              <a:gd name="connsiteY14" fmla="*/ 536028 h 4991475"/>
              <a:gd name="connsiteX0" fmla="*/ 669860 w 10630864"/>
              <a:gd name="connsiteY0" fmla="*/ 2353273 h 4991475"/>
              <a:gd name="connsiteX1" fmla="*/ 669860 w 10630864"/>
              <a:gd name="connsiteY1" fmla="*/ 2935582 h 4991475"/>
              <a:gd name="connsiteX2" fmla="*/ 5186695 w 10630864"/>
              <a:gd name="connsiteY2" fmla="*/ 2935582 h 4991475"/>
              <a:gd name="connsiteX3" fmla="*/ 5186695 w 10630864"/>
              <a:gd name="connsiteY3" fmla="*/ 2353273 h 4991475"/>
              <a:gd name="connsiteX4" fmla="*/ 669860 w 10630864"/>
              <a:gd name="connsiteY4" fmla="*/ 2353273 h 4991475"/>
              <a:gd name="connsiteX5" fmla="*/ 0 w 10630864"/>
              <a:gd name="connsiteY5" fmla="*/ 536028 h 4991475"/>
              <a:gd name="connsiteX6" fmla="*/ 10630864 w 10630864"/>
              <a:gd name="connsiteY6" fmla="*/ 0 h 4991475"/>
              <a:gd name="connsiteX7" fmla="*/ 8928188 w 10630864"/>
              <a:gd name="connsiteY7" fmla="*/ 4991475 h 4991475"/>
              <a:gd name="connsiteX8" fmla="*/ 0 w 10630864"/>
              <a:gd name="connsiteY8" fmla="*/ 4991475 h 4991475"/>
              <a:gd name="connsiteX9" fmla="*/ 0 w 10630864"/>
              <a:gd name="connsiteY9" fmla="*/ 2935582 h 4991475"/>
              <a:gd name="connsiteX10" fmla="*/ 18568 w 10630864"/>
              <a:gd name="connsiteY10" fmla="*/ 2935582 h 4991475"/>
              <a:gd name="connsiteX11" fmla="*/ 18568 w 10630864"/>
              <a:gd name="connsiteY11" fmla="*/ 2353273 h 4991475"/>
              <a:gd name="connsiteX12" fmla="*/ 0 w 10630864"/>
              <a:gd name="connsiteY12" fmla="*/ 2353273 h 4991475"/>
              <a:gd name="connsiteX13" fmla="*/ 0 w 10630864"/>
              <a:gd name="connsiteY13" fmla="*/ 536028 h 4991475"/>
              <a:gd name="connsiteX0" fmla="*/ 669860 w 10646629"/>
              <a:gd name="connsiteY0" fmla="*/ 2353273 h 5763985"/>
              <a:gd name="connsiteX1" fmla="*/ 669860 w 10646629"/>
              <a:gd name="connsiteY1" fmla="*/ 2935582 h 5763985"/>
              <a:gd name="connsiteX2" fmla="*/ 5186695 w 10646629"/>
              <a:gd name="connsiteY2" fmla="*/ 2935582 h 5763985"/>
              <a:gd name="connsiteX3" fmla="*/ 5186695 w 10646629"/>
              <a:gd name="connsiteY3" fmla="*/ 2353273 h 5763985"/>
              <a:gd name="connsiteX4" fmla="*/ 669860 w 10646629"/>
              <a:gd name="connsiteY4" fmla="*/ 2353273 h 5763985"/>
              <a:gd name="connsiteX5" fmla="*/ 0 w 10646629"/>
              <a:gd name="connsiteY5" fmla="*/ 536028 h 5763985"/>
              <a:gd name="connsiteX6" fmla="*/ 10630864 w 10646629"/>
              <a:gd name="connsiteY6" fmla="*/ 0 h 5763985"/>
              <a:gd name="connsiteX7" fmla="*/ 10646629 w 10646629"/>
              <a:gd name="connsiteY7" fmla="*/ 5763985 h 5763985"/>
              <a:gd name="connsiteX8" fmla="*/ 0 w 10646629"/>
              <a:gd name="connsiteY8" fmla="*/ 4991475 h 5763985"/>
              <a:gd name="connsiteX9" fmla="*/ 0 w 10646629"/>
              <a:gd name="connsiteY9" fmla="*/ 2935582 h 5763985"/>
              <a:gd name="connsiteX10" fmla="*/ 18568 w 10646629"/>
              <a:gd name="connsiteY10" fmla="*/ 2935582 h 5763985"/>
              <a:gd name="connsiteX11" fmla="*/ 18568 w 10646629"/>
              <a:gd name="connsiteY11" fmla="*/ 2353273 h 5763985"/>
              <a:gd name="connsiteX12" fmla="*/ 0 w 10646629"/>
              <a:gd name="connsiteY12" fmla="*/ 2353273 h 5763985"/>
              <a:gd name="connsiteX13" fmla="*/ 0 w 10646629"/>
              <a:gd name="connsiteY13" fmla="*/ 536028 h 5763985"/>
              <a:gd name="connsiteX0" fmla="*/ 2388302 w 12365071"/>
              <a:gd name="connsiteY0" fmla="*/ 2353273 h 5811282"/>
              <a:gd name="connsiteX1" fmla="*/ 2388302 w 12365071"/>
              <a:gd name="connsiteY1" fmla="*/ 2935582 h 5811282"/>
              <a:gd name="connsiteX2" fmla="*/ 6905137 w 12365071"/>
              <a:gd name="connsiteY2" fmla="*/ 2935582 h 5811282"/>
              <a:gd name="connsiteX3" fmla="*/ 6905137 w 12365071"/>
              <a:gd name="connsiteY3" fmla="*/ 2353273 h 5811282"/>
              <a:gd name="connsiteX4" fmla="*/ 2388302 w 12365071"/>
              <a:gd name="connsiteY4" fmla="*/ 2353273 h 5811282"/>
              <a:gd name="connsiteX5" fmla="*/ 1718442 w 12365071"/>
              <a:gd name="connsiteY5" fmla="*/ 536028 h 5811282"/>
              <a:gd name="connsiteX6" fmla="*/ 12349306 w 12365071"/>
              <a:gd name="connsiteY6" fmla="*/ 0 h 5811282"/>
              <a:gd name="connsiteX7" fmla="*/ 12365071 w 12365071"/>
              <a:gd name="connsiteY7" fmla="*/ 5763985 h 5811282"/>
              <a:gd name="connsiteX8" fmla="*/ 0 w 12365071"/>
              <a:gd name="connsiteY8" fmla="*/ 5811282 h 5811282"/>
              <a:gd name="connsiteX9" fmla="*/ 1718442 w 12365071"/>
              <a:gd name="connsiteY9" fmla="*/ 2935582 h 5811282"/>
              <a:gd name="connsiteX10" fmla="*/ 1737010 w 12365071"/>
              <a:gd name="connsiteY10" fmla="*/ 2935582 h 5811282"/>
              <a:gd name="connsiteX11" fmla="*/ 1737010 w 12365071"/>
              <a:gd name="connsiteY11" fmla="*/ 2353273 h 5811282"/>
              <a:gd name="connsiteX12" fmla="*/ 1718442 w 12365071"/>
              <a:gd name="connsiteY12" fmla="*/ 2353273 h 5811282"/>
              <a:gd name="connsiteX13" fmla="*/ 1718442 w 12365071"/>
              <a:gd name="connsiteY13" fmla="*/ 536028 h 5811282"/>
              <a:gd name="connsiteX0" fmla="*/ 2388302 w 12365071"/>
              <a:gd name="connsiteY0" fmla="*/ 2353273 h 5811282"/>
              <a:gd name="connsiteX1" fmla="*/ 2388302 w 12365071"/>
              <a:gd name="connsiteY1" fmla="*/ 2935582 h 5811282"/>
              <a:gd name="connsiteX2" fmla="*/ 6905137 w 12365071"/>
              <a:gd name="connsiteY2" fmla="*/ 2935582 h 5811282"/>
              <a:gd name="connsiteX3" fmla="*/ 6905137 w 12365071"/>
              <a:gd name="connsiteY3" fmla="*/ 2353273 h 5811282"/>
              <a:gd name="connsiteX4" fmla="*/ 2388302 w 12365071"/>
              <a:gd name="connsiteY4" fmla="*/ 2353273 h 5811282"/>
              <a:gd name="connsiteX5" fmla="*/ 1718442 w 12365071"/>
              <a:gd name="connsiteY5" fmla="*/ 536028 h 5811282"/>
              <a:gd name="connsiteX6" fmla="*/ 12349306 w 12365071"/>
              <a:gd name="connsiteY6" fmla="*/ 0 h 5811282"/>
              <a:gd name="connsiteX7" fmla="*/ 12365071 w 12365071"/>
              <a:gd name="connsiteY7" fmla="*/ 5763985 h 5811282"/>
              <a:gd name="connsiteX8" fmla="*/ 0 w 12365071"/>
              <a:gd name="connsiteY8" fmla="*/ 5811282 h 5811282"/>
              <a:gd name="connsiteX9" fmla="*/ 1718442 w 12365071"/>
              <a:gd name="connsiteY9" fmla="*/ 2935582 h 5811282"/>
              <a:gd name="connsiteX10" fmla="*/ 1737010 w 12365071"/>
              <a:gd name="connsiteY10" fmla="*/ 2353273 h 5811282"/>
              <a:gd name="connsiteX11" fmla="*/ 1718442 w 12365071"/>
              <a:gd name="connsiteY11" fmla="*/ 2353273 h 5811282"/>
              <a:gd name="connsiteX12" fmla="*/ 1718442 w 12365071"/>
              <a:gd name="connsiteY12" fmla="*/ 536028 h 5811282"/>
              <a:gd name="connsiteX0" fmla="*/ 2388302 w 12365071"/>
              <a:gd name="connsiteY0" fmla="*/ 2353273 h 5811282"/>
              <a:gd name="connsiteX1" fmla="*/ 2388302 w 12365071"/>
              <a:gd name="connsiteY1" fmla="*/ 2935582 h 5811282"/>
              <a:gd name="connsiteX2" fmla="*/ 6905137 w 12365071"/>
              <a:gd name="connsiteY2" fmla="*/ 2935582 h 5811282"/>
              <a:gd name="connsiteX3" fmla="*/ 6905137 w 12365071"/>
              <a:gd name="connsiteY3" fmla="*/ 2353273 h 5811282"/>
              <a:gd name="connsiteX4" fmla="*/ 2388302 w 12365071"/>
              <a:gd name="connsiteY4" fmla="*/ 2353273 h 5811282"/>
              <a:gd name="connsiteX5" fmla="*/ 1718442 w 12365071"/>
              <a:gd name="connsiteY5" fmla="*/ 536028 h 5811282"/>
              <a:gd name="connsiteX6" fmla="*/ 12349306 w 12365071"/>
              <a:gd name="connsiteY6" fmla="*/ 0 h 5811282"/>
              <a:gd name="connsiteX7" fmla="*/ 12365071 w 12365071"/>
              <a:gd name="connsiteY7" fmla="*/ 5763985 h 5811282"/>
              <a:gd name="connsiteX8" fmla="*/ 0 w 12365071"/>
              <a:gd name="connsiteY8" fmla="*/ 5811282 h 5811282"/>
              <a:gd name="connsiteX9" fmla="*/ 1718442 w 12365071"/>
              <a:gd name="connsiteY9" fmla="*/ 2935582 h 5811282"/>
              <a:gd name="connsiteX10" fmla="*/ 1737010 w 12365071"/>
              <a:gd name="connsiteY10" fmla="*/ 2353273 h 5811282"/>
              <a:gd name="connsiteX11" fmla="*/ 1718442 w 12365071"/>
              <a:gd name="connsiteY11" fmla="*/ 536028 h 5811282"/>
              <a:gd name="connsiteX0" fmla="*/ 2388302 w 12365071"/>
              <a:gd name="connsiteY0" fmla="*/ 2353273 h 5811282"/>
              <a:gd name="connsiteX1" fmla="*/ 2388302 w 12365071"/>
              <a:gd name="connsiteY1" fmla="*/ 2935582 h 5811282"/>
              <a:gd name="connsiteX2" fmla="*/ 6905137 w 12365071"/>
              <a:gd name="connsiteY2" fmla="*/ 2935582 h 5811282"/>
              <a:gd name="connsiteX3" fmla="*/ 6905137 w 12365071"/>
              <a:gd name="connsiteY3" fmla="*/ 2353273 h 5811282"/>
              <a:gd name="connsiteX4" fmla="*/ 2388302 w 12365071"/>
              <a:gd name="connsiteY4" fmla="*/ 2353273 h 5811282"/>
              <a:gd name="connsiteX5" fmla="*/ 1718442 w 12365071"/>
              <a:gd name="connsiteY5" fmla="*/ 536028 h 5811282"/>
              <a:gd name="connsiteX6" fmla="*/ 12349306 w 12365071"/>
              <a:gd name="connsiteY6" fmla="*/ 0 h 5811282"/>
              <a:gd name="connsiteX7" fmla="*/ 12365071 w 12365071"/>
              <a:gd name="connsiteY7" fmla="*/ 5763985 h 5811282"/>
              <a:gd name="connsiteX8" fmla="*/ 0 w 12365071"/>
              <a:gd name="connsiteY8" fmla="*/ 5811282 h 5811282"/>
              <a:gd name="connsiteX9" fmla="*/ 1737010 w 12365071"/>
              <a:gd name="connsiteY9" fmla="*/ 2353273 h 5811282"/>
              <a:gd name="connsiteX10" fmla="*/ 1718442 w 12365071"/>
              <a:gd name="connsiteY10" fmla="*/ 536028 h 5811282"/>
              <a:gd name="connsiteX0" fmla="*/ 2388302 w 12365071"/>
              <a:gd name="connsiteY0" fmla="*/ 2353273 h 5811282"/>
              <a:gd name="connsiteX1" fmla="*/ 2388302 w 12365071"/>
              <a:gd name="connsiteY1" fmla="*/ 2935582 h 5811282"/>
              <a:gd name="connsiteX2" fmla="*/ 6905137 w 12365071"/>
              <a:gd name="connsiteY2" fmla="*/ 2935582 h 5811282"/>
              <a:gd name="connsiteX3" fmla="*/ 6905137 w 12365071"/>
              <a:gd name="connsiteY3" fmla="*/ 2353273 h 5811282"/>
              <a:gd name="connsiteX4" fmla="*/ 2388302 w 12365071"/>
              <a:gd name="connsiteY4" fmla="*/ 2353273 h 5811282"/>
              <a:gd name="connsiteX5" fmla="*/ 1718442 w 12365071"/>
              <a:gd name="connsiteY5" fmla="*/ 536028 h 5811282"/>
              <a:gd name="connsiteX6" fmla="*/ 12349306 w 12365071"/>
              <a:gd name="connsiteY6" fmla="*/ 0 h 5811282"/>
              <a:gd name="connsiteX7" fmla="*/ 12365071 w 12365071"/>
              <a:gd name="connsiteY7" fmla="*/ 5763985 h 5811282"/>
              <a:gd name="connsiteX8" fmla="*/ 0 w 12365071"/>
              <a:gd name="connsiteY8" fmla="*/ 5811282 h 5811282"/>
              <a:gd name="connsiteX9" fmla="*/ 1718442 w 12365071"/>
              <a:gd name="connsiteY9" fmla="*/ 536028 h 5811282"/>
              <a:gd name="connsiteX0" fmla="*/ 2388302 w 12365071"/>
              <a:gd name="connsiteY0" fmla="*/ 2353273 h 5811282"/>
              <a:gd name="connsiteX1" fmla="*/ 2388302 w 12365071"/>
              <a:gd name="connsiteY1" fmla="*/ 2935582 h 5811282"/>
              <a:gd name="connsiteX2" fmla="*/ 6905137 w 12365071"/>
              <a:gd name="connsiteY2" fmla="*/ 2935582 h 5811282"/>
              <a:gd name="connsiteX3" fmla="*/ 6905137 w 12365071"/>
              <a:gd name="connsiteY3" fmla="*/ 2353273 h 5811282"/>
              <a:gd name="connsiteX4" fmla="*/ 2388302 w 12365071"/>
              <a:gd name="connsiteY4" fmla="*/ 2353273 h 5811282"/>
              <a:gd name="connsiteX5" fmla="*/ 31531 w 12365071"/>
              <a:gd name="connsiteY5" fmla="*/ 0 h 5811282"/>
              <a:gd name="connsiteX6" fmla="*/ 12349306 w 12365071"/>
              <a:gd name="connsiteY6" fmla="*/ 0 h 5811282"/>
              <a:gd name="connsiteX7" fmla="*/ 12365071 w 12365071"/>
              <a:gd name="connsiteY7" fmla="*/ 5763985 h 5811282"/>
              <a:gd name="connsiteX8" fmla="*/ 0 w 12365071"/>
              <a:gd name="connsiteY8" fmla="*/ 5811282 h 5811282"/>
              <a:gd name="connsiteX9" fmla="*/ 31531 w 12365071"/>
              <a:gd name="connsiteY9" fmla="*/ 0 h 5811282"/>
              <a:gd name="connsiteX0" fmla="*/ 2356771 w 12333540"/>
              <a:gd name="connsiteY0" fmla="*/ 2353273 h 5827048"/>
              <a:gd name="connsiteX1" fmla="*/ 2356771 w 12333540"/>
              <a:gd name="connsiteY1" fmla="*/ 2935582 h 5827048"/>
              <a:gd name="connsiteX2" fmla="*/ 6873606 w 12333540"/>
              <a:gd name="connsiteY2" fmla="*/ 2935582 h 5827048"/>
              <a:gd name="connsiteX3" fmla="*/ 6873606 w 12333540"/>
              <a:gd name="connsiteY3" fmla="*/ 2353273 h 5827048"/>
              <a:gd name="connsiteX4" fmla="*/ 2356771 w 12333540"/>
              <a:gd name="connsiteY4" fmla="*/ 2353273 h 5827048"/>
              <a:gd name="connsiteX5" fmla="*/ 0 w 12333540"/>
              <a:gd name="connsiteY5" fmla="*/ 0 h 5827048"/>
              <a:gd name="connsiteX6" fmla="*/ 12317775 w 12333540"/>
              <a:gd name="connsiteY6" fmla="*/ 0 h 5827048"/>
              <a:gd name="connsiteX7" fmla="*/ 12333540 w 12333540"/>
              <a:gd name="connsiteY7" fmla="*/ 5763985 h 5827048"/>
              <a:gd name="connsiteX8" fmla="*/ 0 w 12333540"/>
              <a:gd name="connsiteY8" fmla="*/ 5827048 h 5827048"/>
              <a:gd name="connsiteX9" fmla="*/ 0 w 12333540"/>
              <a:gd name="connsiteY9" fmla="*/ 0 h 5827048"/>
              <a:gd name="connsiteX0" fmla="*/ 2356771 w 12317775"/>
              <a:gd name="connsiteY0" fmla="*/ 2353273 h 5827048"/>
              <a:gd name="connsiteX1" fmla="*/ 2356771 w 12317775"/>
              <a:gd name="connsiteY1" fmla="*/ 2935582 h 5827048"/>
              <a:gd name="connsiteX2" fmla="*/ 6873606 w 12317775"/>
              <a:gd name="connsiteY2" fmla="*/ 2935582 h 5827048"/>
              <a:gd name="connsiteX3" fmla="*/ 6873606 w 12317775"/>
              <a:gd name="connsiteY3" fmla="*/ 2353273 h 5827048"/>
              <a:gd name="connsiteX4" fmla="*/ 2356771 w 12317775"/>
              <a:gd name="connsiteY4" fmla="*/ 2353273 h 5827048"/>
              <a:gd name="connsiteX5" fmla="*/ 0 w 12317775"/>
              <a:gd name="connsiteY5" fmla="*/ 0 h 5827048"/>
              <a:gd name="connsiteX6" fmla="*/ 12317775 w 12317775"/>
              <a:gd name="connsiteY6" fmla="*/ 0 h 5827048"/>
              <a:gd name="connsiteX7" fmla="*/ 12286244 w 12317775"/>
              <a:gd name="connsiteY7" fmla="*/ 5811282 h 5827048"/>
              <a:gd name="connsiteX8" fmla="*/ 0 w 12317775"/>
              <a:gd name="connsiteY8" fmla="*/ 5827048 h 5827048"/>
              <a:gd name="connsiteX9" fmla="*/ 0 w 12317775"/>
              <a:gd name="connsiteY9" fmla="*/ 0 h 5827048"/>
              <a:gd name="connsiteX0" fmla="*/ 2356771 w 12286244"/>
              <a:gd name="connsiteY0" fmla="*/ 2353273 h 5827048"/>
              <a:gd name="connsiteX1" fmla="*/ 2356771 w 12286244"/>
              <a:gd name="connsiteY1" fmla="*/ 2935582 h 5827048"/>
              <a:gd name="connsiteX2" fmla="*/ 6873606 w 12286244"/>
              <a:gd name="connsiteY2" fmla="*/ 2935582 h 5827048"/>
              <a:gd name="connsiteX3" fmla="*/ 6873606 w 12286244"/>
              <a:gd name="connsiteY3" fmla="*/ 2353273 h 5827048"/>
              <a:gd name="connsiteX4" fmla="*/ 2356771 w 12286244"/>
              <a:gd name="connsiteY4" fmla="*/ 2353273 h 5827048"/>
              <a:gd name="connsiteX5" fmla="*/ 0 w 12286244"/>
              <a:gd name="connsiteY5" fmla="*/ 0 h 5827048"/>
              <a:gd name="connsiteX6" fmla="*/ 12286244 w 12286244"/>
              <a:gd name="connsiteY6" fmla="*/ 15765 h 5827048"/>
              <a:gd name="connsiteX7" fmla="*/ 12286244 w 12286244"/>
              <a:gd name="connsiteY7" fmla="*/ 5811282 h 5827048"/>
              <a:gd name="connsiteX8" fmla="*/ 0 w 12286244"/>
              <a:gd name="connsiteY8" fmla="*/ 5827048 h 5827048"/>
              <a:gd name="connsiteX9" fmla="*/ 0 w 12286244"/>
              <a:gd name="connsiteY9" fmla="*/ 0 h 5827048"/>
              <a:gd name="connsiteX0" fmla="*/ 2356771 w 12286244"/>
              <a:gd name="connsiteY0" fmla="*/ 2369039 h 5842814"/>
              <a:gd name="connsiteX1" fmla="*/ 2356771 w 12286244"/>
              <a:gd name="connsiteY1" fmla="*/ 2951348 h 5842814"/>
              <a:gd name="connsiteX2" fmla="*/ 6873606 w 12286244"/>
              <a:gd name="connsiteY2" fmla="*/ 2951348 h 5842814"/>
              <a:gd name="connsiteX3" fmla="*/ 6873606 w 12286244"/>
              <a:gd name="connsiteY3" fmla="*/ 2369039 h 5842814"/>
              <a:gd name="connsiteX4" fmla="*/ 2356771 w 12286244"/>
              <a:gd name="connsiteY4" fmla="*/ 2369039 h 5842814"/>
              <a:gd name="connsiteX5" fmla="*/ 31531 w 12286244"/>
              <a:gd name="connsiteY5" fmla="*/ 0 h 5842814"/>
              <a:gd name="connsiteX6" fmla="*/ 12286244 w 12286244"/>
              <a:gd name="connsiteY6" fmla="*/ 31531 h 5842814"/>
              <a:gd name="connsiteX7" fmla="*/ 12286244 w 12286244"/>
              <a:gd name="connsiteY7" fmla="*/ 5827048 h 5842814"/>
              <a:gd name="connsiteX8" fmla="*/ 0 w 12286244"/>
              <a:gd name="connsiteY8" fmla="*/ 5842814 h 5842814"/>
              <a:gd name="connsiteX9" fmla="*/ 31531 w 12286244"/>
              <a:gd name="connsiteY9" fmla="*/ 0 h 5842814"/>
              <a:gd name="connsiteX0" fmla="*/ 2341005 w 12270478"/>
              <a:gd name="connsiteY0" fmla="*/ 2369039 h 5858579"/>
              <a:gd name="connsiteX1" fmla="*/ 2341005 w 12270478"/>
              <a:gd name="connsiteY1" fmla="*/ 2951348 h 5858579"/>
              <a:gd name="connsiteX2" fmla="*/ 6857840 w 12270478"/>
              <a:gd name="connsiteY2" fmla="*/ 2951348 h 5858579"/>
              <a:gd name="connsiteX3" fmla="*/ 6857840 w 12270478"/>
              <a:gd name="connsiteY3" fmla="*/ 2369039 h 5858579"/>
              <a:gd name="connsiteX4" fmla="*/ 2341005 w 12270478"/>
              <a:gd name="connsiteY4" fmla="*/ 2369039 h 5858579"/>
              <a:gd name="connsiteX5" fmla="*/ 15765 w 12270478"/>
              <a:gd name="connsiteY5" fmla="*/ 0 h 5858579"/>
              <a:gd name="connsiteX6" fmla="*/ 12270478 w 12270478"/>
              <a:gd name="connsiteY6" fmla="*/ 31531 h 5858579"/>
              <a:gd name="connsiteX7" fmla="*/ 12270478 w 12270478"/>
              <a:gd name="connsiteY7" fmla="*/ 5827048 h 5858579"/>
              <a:gd name="connsiteX8" fmla="*/ 0 w 12270478"/>
              <a:gd name="connsiteY8" fmla="*/ 5858579 h 5858579"/>
              <a:gd name="connsiteX9" fmla="*/ 15765 w 12270478"/>
              <a:gd name="connsiteY9" fmla="*/ 0 h 585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70478" h="5858579">
                <a:moveTo>
                  <a:pt x="2341005" y="2369039"/>
                </a:moveTo>
                <a:lnTo>
                  <a:pt x="2341005" y="2951348"/>
                </a:lnTo>
                <a:lnTo>
                  <a:pt x="6857840" y="2951348"/>
                </a:lnTo>
                <a:lnTo>
                  <a:pt x="6857840" y="2369039"/>
                </a:lnTo>
                <a:lnTo>
                  <a:pt x="2341005" y="2369039"/>
                </a:lnTo>
                <a:close/>
                <a:moveTo>
                  <a:pt x="15765" y="0"/>
                </a:moveTo>
                <a:lnTo>
                  <a:pt x="12270478" y="31531"/>
                </a:lnTo>
                <a:lnTo>
                  <a:pt x="12270478" y="5827048"/>
                </a:lnTo>
                <a:lnTo>
                  <a:pt x="0" y="5858579"/>
                </a:lnTo>
                <a:lnTo>
                  <a:pt x="15765" y="0"/>
                </a:lnTo>
                <a:close/>
              </a:path>
            </a:pathLst>
          </a:custGeom>
          <a:solidFill>
            <a:schemeClr val="tx1">
              <a:lumMod val="85000"/>
              <a:lumOff val="1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Content Placeholder 8" descr="A close up of a piece of paper&#10;&#10;Description generated with very high confidence">
            <a:extLst>
              <a:ext uri="{FF2B5EF4-FFF2-40B4-BE49-F238E27FC236}">
                <a16:creationId xmlns:a16="http://schemas.microsoft.com/office/drawing/2014/main" id="{314FC252-0B4E-C241-A35B-7C4CE383EA23}"/>
              </a:ext>
            </a:extLst>
          </p:cNvPr>
          <p:cNvPicPr>
            <a:picLocks noGrp="1" noChangeAspect="1"/>
          </p:cNvPicPr>
          <p:nvPr>
            <p:ph sz="half" idx="1"/>
          </p:nvPr>
        </p:nvPicPr>
        <p:blipFill>
          <a:blip r:embed="rId3"/>
          <a:stretch>
            <a:fillRect/>
          </a:stretch>
        </p:blipFill>
        <p:spPr>
          <a:xfrm>
            <a:off x="2215369" y="1487245"/>
            <a:ext cx="7729728" cy="5084870"/>
          </a:xfrm>
        </p:spPr>
      </p:pic>
      <p:sp>
        <p:nvSpPr>
          <p:cNvPr id="8" name="Rectangle 7">
            <a:extLst>
              <a:ext uri="{FF2B5EF4-FFF2-40B4-BE49-F238E27FC236}">
                <a16:creationId xmlns:a16="http://schemas.microsoft.com/office/drawing/2014/main" id="{21B1AC62-6CFF-6D4C-AA63-EDE8D6AAC991}"/>
              </a:ext>
            </a:extLst>
          </p:cNvPr>
          <p:cNvSpPr/>
          <p:nvPr/>
        </p:nvSpPr>
        <p:spPr>
          <a:xfrm>
            <a:off x="0" y="0"/>
            <a:ext cx="12192000" cy="1169043"/>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6F293ACC-1676-004E-8ABF-D24AAAC15BF5}"/>
              </a:ext>
            </a:extLst>
          </p:cNvPr>
          <p:cNvSpPr>
            <a:spLocks noGrp="1"/>
          </p:cNvSpPr>
          <p:nvPr>
            <p:ph type="title"/>
          </p:nvPr>
        </p:nvSpPr>
        <p:spPr/>
        <p:txBody>
          <a:bodyPr/>
          <a:lstStyle/>
          <a:p>
            <a:r>
              <a:rPr lang="en-US" b="0" dirty="0">
                <a:latin typeface="+mn-lt"/>
              </a:rPr>
              <a:t>Student collaboration examples</a:t>
            </a:r>
          </a:p>
        </p:txBody>
      </p:sp>
      <p:grpSp>
        <p:nvGrpSpPr>
          <p:cNvPr id="3" name="Highlight">
            <a:extLst>
              <a:ext uri="{FF2B5EF4-FFF2-40B4-BE49-F238E27FC236}">
                <a16:creationId xmlns:a16="http://schemas.microsoft.com/office/drawing/2014/main" id="{057A9DC8-8D6E-0B4C-B08B-314644CFFA2C}"/>
              </a:ext>
            </a:extLst>
          </p:cNvPr>
          <p:cNvGrpSpPr/>
          <p:nvPr/>
        </p:nvGrpSpPr>
        <p:grpSpPr>
          <a:xfrm>
            <a:off x="2215369" y="1487245"/>
            <a:ext cx="7729728" cy="5084870"/>
            <a:chOff x="2215369" y="1487245"/>
            <a:chExt cx="7729728" cy="5084870"/>
          </a:xfrm>
        </p:grpSpPr>
        <p:sp>
          <p:nvSpPr>
            <p:cNvPr id="11" name="Freeform 10">
              <a:extLst>
                <a:ext uri="{FF2B5EF4-FFF2-40B4-BE49-F238E27FC236}">
                  <a16:creationId xmlns:a16="http://schemas.microsoft.com/office/drawing/2014/main" id="{9ACA10DD-D982-2640-AEC6-8D465C26897A}"/>
                </a:ext>
              </a:extLst>
            </p:cNvPr>
            <p:cNvSpPr/>
            <p:nvPr/>
          </p:nvSpPr>
          <p:spPr>
            <a:xfrm>
              <a:off x="2215369" y="1487245"/>
              <a:ext cx="7729728" cy="5084870"/>
            </a:xfrm>
            <a:custGeom>
              <a:avLst/>
              <a:gdLst>
                <a:gd name="connsiteX0" fmla="*/ 0 w 7729728"/>
                <a:gd name="connsiteY0" fmla="*/ 0 h 5084870"/>
                <a:gd name="connsiteX1" fmla="*/ 7729728 w 7729728"/>
                <a:gd name="connsiteY1" fmla="*/ 0 h 5084870"/>
                <a:gd name="connsiteX2" fmla="*/ 7729728 w 7729728"/>
                <a:gd name="connsiteY2" fmla="*/ 1139704 h 5084870"/>
                <a:gd name="connsiteX3" fmla="*/ 244262 w 7729728"/>
                <a:gd name="connsiteY3" fmla="*/ 1139704 h 5084870"/>
                <a:gd name="connsiteX4" fmla="*/ 244262 w 7729728"/>
                <a:gd name="connsiteY4" fmla="*/ 5084870 h 5084870"/>
                <a:gd name="connsiteX5" fmla="*/ 0 w 7729728"/>
                <a:gd name="connsiteY5" fmla="*/ 5084870 h 5084870"/>
                <a:gd name="connsiteX6" fmla="*/ 0 w 7729728"/>
                <a:gd name="connsiteY6" fmla="*/ 1139704 h 5084870"/>
                <a:gd name="connsiteX7" fmla="*/ 0 w 7729728"/>
                <a:gd name="connsiteY7" fmla="*/ 251650 h 5084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29728" h="5084870">
                  <a:moveTo>
                    <a:pt x="0" y="0"/>
                  </a:moveTo>
                  <a:lnTo>
                    <a:pt x="7729728" y="0"/>
                  </a:lnTo>
                  <a:lnTo>
                    <a:pt x="7729728" y="1139704"/>
                  </a:lnTo>
                  <a:lnTo>
                    <a:pt x="244262" y="1139704"/>
                  </a:lnTo>
                  <a:lnTo>
                    <a:pt x="244262" y="5084870"/>
                  </a:lnTo>
                  <a:lnTo>
                    <a:pt x="0" y="5084870"/>
                  </a:lnTo>
                  <a:lnTo>
                    <a:pt x="0" y="1139704"/>
                  </a:lnTo>
                  <a:lnTo>
                    <a:pt x="0" y="251650"/>
                  </a:lnTo>
                  <a:close/>
                </a:path>
              </a:pathLst>
            </a:custGeom>
            <a:solidFill>
              <a:schemeClr val="tx1">
                <a:lumMod val="85000"/>
                <a:lumOff val="1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yellow highlight">
              <a:extLst>
                <a:ext uri="{FF2B5EF4-FFF2-40B4-BE49-F238E27FC236}">
                  <a16:creationId xmlns:a16="http://schemas.microsoft.com/office/drawing/2014/main" id="{55570BFB-0EC1-0F46-BED0-455F19ECF976}"/>
                </a:ext>
              </a:extLst>
            </p:cNvPr>
            <p:cNvSpPr/>
            <p:nvPr/>
          </p:nvSpPr>
          <p:spPr>
            <a:xfrm>
              <a:off x="2459631" y="2626949"/>
              <a:ext cx="7485466" cy="3945166"/>
            </a:xfrm>
            <a:prstGeom prst="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8166750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eeform 17">
            <a:extLst>
              <a:ext uri="{FF2B5EF4-FFF2-40B4-BE49-F238E27FC236}">
                <a16:creationId xmlns:a16="http://schemas.microsoft.com/office/drawing/2014/main" id="{8026CCCD-3EFE-BB48-A2D9-0C3E826852F6}"/>
              </a:ext>
            </a:extLst>
          </p:cNvPr>
          <p:cNvSpPr/>
          <p:nvPr/>
        </p:nvSpPr>
        <p:spPr>
          <a:xfrm>
            <a:off x="-55006" y="1100391"/>
            <a:ext cx="12270478" cy="5858579"/>
          </a:xfrm>
          <a:custGeom>
            <a:avLst/>
            <a:gdLst>
              <a:gd name="connsiteX0" fmla="*/ 669860 w 8928188"/>
              <a:gd name="connsiteY0" fmla="*/ 1817245 h 4455447"/>
              <a:gd name="connsiteX1" fmla="*/ 669860 w 8928188"/>
              <a:gd name="connsiteY1" fmla="*/ 2399554 h 4455447"/>
              <a:gd name="connsiteX2" fmla="*/ 5186695 w 8928188"/>
              <a:gd name="connsiteY2" fmla="*/ 2399554 h 4455447"/>
              <a:gd name="connsiteX3" fmla="*/ 5186695 w 8928188"/>
              <a:gd name="connsiteY3" fmla="*/ 1817245 h 4455447"/>
              <a:gd name="connsiteX4" fmla="*/ 0 w 8928188"/>
              <a:gd name="connsiteY4" fmla="*/ 0 h 4455447"/>
              <a:gd name="connsiteX5" fmla="*/ 8928188 w 8928188"/>
              <a:gd name="connsiteY5" fmla="*/ 0 h 4455447"/>
              <a:gd name="connsiteX6" fmla="*/ 8928188 w 8928188"/>
              <a:gd name="connsiteY6" fmla="*/ 1257690 h 4455447"/>
              <a:gd name="connsiteX7" fmla="*/ 8928188 w 8928188"/>
              <a:gd name="connsiteY7" fmla="*/ 1817245 h 4455447"/>
              <a:gd name="connsiteX8" fmla="*/ 8928188 w 8928188"/>
              <a:gd name="connsiteY8" fmla="*/ 2399554 h 4455447"/>
              <a:gd name="connsiteX9" fmla="*/ 8928188 w 8928188"/>
              <a:gd name="connsiteY9" fmla="*/ 3313583 h 4455447"/>
              <a:gd name="connsiteX10" fmla="*/ 8928188 w 8928188"/>
              <a:gd name="connsiteY10" fmla="*/ 4455447 h 4455447"/>
              <a:gd name="connsiteX11" fmla="*/ 0 w 8928188"/>
              <a:gd name="connsiteY11" fmla="*/ 4455447 h 4455447"/>
              <a:gd name="connsiteX12" fmla="*/ 0 w 8928188"/>
              <a:gd name="connsiteY12" fmla="*/ 2399554 h 4455447"/>
              <a:gd name="connsiteX13" fmla="*/ 18568 w 8928188"/>
              <a:gd name="connsiteY13" fmla="*/ 2399554 h 4455447"/>
              <a:gd name="connsiteX14" fmla="*/ 18568 w 8928188"/>
              <a:gd name="connsiteY14" fmla="*/ 1817245 h 4455447"/>
              <a:gd name="connsiteX15" fmla="*/ 0 w 8928188"/>
              <a:gd name="connsiteY15" fmla="*/ 1817245 h 4455447"/>
              <a:gd name="connsiteX0" fmla="*/ 669860 w 10630864"/>
              <a:gd name="connsiteY0" fmla="*/ 2353273 h 4991475"/>
              <a:gd name="connsiteX1" fmla="*/ 669860 w 10630864"/>
              <a:gd name="connsiteY1" fmla="*/ 2935582 h 4991475"/>
              <a:gd name="connsiteX2" fmla="*/ 5186695 w 10630864"/>
              <a:gd name="connsiteY2" fmla="*/ 2935582 h 4991475"/>
              <a:gd name="connsiteX3" fmla="*/ 5186695 w 10630864"/>
              <a:gd name="connsiteY3" fmla="*/ 2353273 h 4991475"/>
              <a:gd name="connsiteX4" fmla="*/ 669860 w 10630864"/>
              <a:gd name="connsiteY4" fmla="*/ 2353273 h 4991475"/>
              <a:gd name="connsiteX5" fmla="*/ 0 w 10630864"/>
              <a:gd name="connsiteY5" fmla="*/ 536028 h 4991475"/>
              <a:gd name="connsiteX6" fmla="*/ 10630864 w 10630864"/>
              <a:gd name="connsiteY6" fmla="*/ 0 h 4991475"/>
              <a:gd name="connsiteX7" fmla="*/ 8928188 w 10630864"/>
              <a:gd name="connsiteY7" fmla="*/ 1793718 h 4991475"/>
              <a:gd name="connsiteX8" fmla="*/ 8928188 w 10630864"/>
              <a:gd name="connsiteY8" fmla="*/ 2353273 h 4991475"/>
              <a:gd name="connsiteX9" fmla="*/ 8928188 w 10630864"/>
              <a:gd name="connsiteY9" fmla="*/ 2935582 h 4991475"/>
              <a:gd name="connsiteX10" fmla="*/ 8928188 w 10630864"/>
              <a:gd name="connsiteY10" fmla="*/ 3849611 h 4991475"/>
              <a:gd name="connsiteX11" fmla="*/ 8928188 w 10630864"/>
              <a:gd name="connsiteY11" fmla="*/ 4991475 h 4991475"/>
              <a:gd name="connsiteX12" fmla="*/ 0 w 10630864"/>
              <a:gd name="connsiteY12" fmla="*/ 4991475 h 4991475"/>
              <a:gd name="connsiteX13" fmla="*/ 0 w 10630864"/>
              <a:gd name="connsiteY13" fmla="*/ 2935582 h 4991475"/>
              <a:gd name="connsiteX14" fmla="*/ 18568 w 10630864"/>
              <a:gd name="connsiteY14" fmla="*/ 2935582 h 4991475"/>
              <a:gd name="connsiteX15" fmla="*/ 18568 w 10630864"/>
              <a:gd name="connsiteY15" fmla="*/ 2353273 h 4991475"/>
              <a:gd name="connsiteX16" fmla="*/ 0 w 10630864"/>
              <a:gd name="connsiteY16" fmla="*/ 2353273 h 4991475"/>
              <a:gd name="connsiteX17" fmla="*/ 0 w 10630864"/>
              <a:gd name="connsiteY17" fmla="*/ 536028 h 4991475"/>
              <a:gd name="connsiteX0" fmla="*/ 669860 w 10630864"/>
              <a:gd name="connsiteY0" fmla="*/ 2353273 h 4991475"/>
              <a:gd name="connsiteX1" fmla="*/ 669860 w 10630864"/>
              <a:gd name="connsiteY1" fmla="*/ 2935582 h 4991475"/>
              <a:gd name="connsiteX2" fmla="*/ 5186695 w 10630864"/>
              <a:gd name="connsiteY2" fmla="*/ 2935582 h 4991475"/>
              <a:gd name="connsiteX3" fmla="*/ 5186695 w 10630864"/>
              <a:gd name="connsiteY3" fmla="*/ 2353273 h 4991475"/>
              <a:gd name="connsiteX4" fmla="*/ 669860 w 10630864"/>
              <a:gd name="connsiteY4" fmla="*/ 2353273 h 4991475"/>
              <a:gd name="connsiteX5" fmla="*/ 0 w 10630864"/>
              <a:gd name="connsiteY5" fmla="*/ 536028 h 4991475"/>
              <a:gd name="connsiteX6" fmla="*/ 10630864 w 10630864"/>
              <a:gd name="connsiteY6" fmla="*/ 0 h 4991475"/>
              <a:gd name="connsiteX7" fmla="*/ 8928188 w 10630864"/>
              <a:gd name="connsiteY7" fmla="*/ 2353273 h 4991475"/>
              <a:gd name="connsiteX8" fmla="*/ 8928188 w 10630864"/>
              <a:gd name="connsiteY8" fmla="*/ 2935582 h 4991475"/>
              <a:gd name="connsiteX9" fmla="*/ 8928188 w 10630864"/>
              <a:gd name="connsiteY9" fmla="*/ 3849611 h 4991475"/>
              <a:gd name="connsiteX10" fmla="*/ 8928188 w 10630864"/>
              <a:gd name="connsiteY10" fmla="*/ 4991475 h 4991475"/>
              <a:gd name="connsiteX11" fmla="*/ 0 w 10630864"/>
              <a:gd name="connsiteY11" fmla="*/ 4991475 h 4991475"/>
              <a:gd name="connsiteX12" fmla="*/ 0 w 10630864"/>
              <a:gd name="connsiteY12" fmla="*/ 2935582 h 4991475"/>
              <a:gd name="connsiteX13" fmla="*/ 18568 w 10630864"/>
              <a:gd name="connsiteY13" fmla="*/ 2935582 h 4991475"/>
              <a:gd name="connsiteX14" fmla="*/ 18568 w 10630864"/>
              <a:gd name="connsiteY14" fmla="*/ 2353273 h 4991475"/>
              <a:gd name="connsiteX15" fmla="*/ 0 w 10630864"/>
              <a:gd name="connsiteY15" fmla="*/ 2353273 h 4991475"/>
              <a:gd name="connsiteX16" fmla="*/ 0 w 10630864"/>
              <a:gd name="connsiteY16" fmla="*/ 536028 h 4991475"/>
              <a:gd name="connsiteX0" fmla="*/ 669860 w 10630864"/>
              <a:gd name="connsiteY0" fmla="*/ 2353273 h 4991475"/>
              <a:gd name="connsiteX1" fmla="*/ 669860 w 10630864"/>
              <a:gd name="connsiteY1" fmla="*/ 2935582 h 4991475"/>
              <a:gd name="connsiteX2" fmla="*/ 5186695 w 10630864"/>
              <a:gd name="connsiteY2" fmla="*/ 2935582 h 4991475"/>
              <a:gd name="connsiteX3" fmla="*/ 5186695 w 10630864"/>
              <a:gd name="connsiteY3" fmla="*/ 2353273 h 4991475"/>
              <a:gd name="connsiteX4" fmla="*/ 669860 w 10630864"/>
              <a:gd name="connsiteY4" fmla="*/ 2353273 h 4991475"/>
              <a:gd name="connsiteX5" fmla="*/ 0 w 10630864"/>
              <a:gd name="connsiteY5" fmla="*/ 536028 h 4991475"/>
              <a:gd name="connsiteX6" fmla="*/ 10630864 w 10630864"/>
              <a:gd name="connsiteY6" fmla="*/ 0 h 4991475"/>
              <a:gd name="connsiteX7" fmla="*/ 8928188 w 10630864"/>
              <a:gd name="connsiteY7" fmla="*/ 2935582 h 4991475"/>
              <a:gd name="connsiteX8" fmla="*/ 8928188 w 10630864"/>
              <a:gd name="connsiteY8" fmla="*/ 3849611 h 4991475"/>
              <a:gd name="connsiteX9" fmla="*/ 8928188 w 10630864"/>
              <a:gd name="connsiteY9" fmla="*/ 4991475 h 4991475"/>
              <a:gd name="connsiteX10" fmla="*/ 0 w 10630864"/>
              <a:gd name="connsiteY10" fmla="*/ 4991475 h 4991475"/>
              <a:gd name="connsiteX11" fmla="*/ 0 w 10630864"/>
              <a:gd name="connsiteY11" fmla="*/ 2935582 h 4991475"/>
              <a:gd name="connsiteX12" fmla="*/ 18568 w 10630864"/>
              <a:gd name="connsiteY12" fmla="*/ 2935582 h 4991475"/>
              <a:gd name="connsiteX13" fmla="*/ 18568 w 10630864"/>
              <a:gd name="connsiteY13" fmla="*/ 2353273 h 4991475"/>
              <a:gd name="connsiteX14" fmla="*/ 0 w 10630864"/>
              <a:gd name="connsiteY14" fmla="*/ 2353273 h 4991475"/>
              <a:gd name="connsiteX15" fmla="*/ 0 w 10630864"/>
              <a:gd name="connsiteY15" fmla="*/ 536028 h 4991475"/>
              <a:gd name="connsiteX0" fmla="*/ 669860 w 10630864"/>
              <a:gd name="connsiteY0" fmla="*/ 2353273 h 4991475"/>
              <a:gd name="connsiteX1" fmla="*/ 669860 w 10630864"/>
              <a:gd name="connsiteY1" fmla="*/ 2935582 h 4991475"/>
              <a:gd name="connsiteX2" fmla="*/ 5186695 w 10630864"/>
              <a:gd name="connsiteY2" fmla="*/ 2935582 h 4991475"/>
              <a:gd name="connsiteX3" fmla="*/ 5186695 w 10630864"/>
              <a:gd name="connsiteY3" fmla="*/ 2353273 h 4991475"/>
              <a:gd name="connsiteX4" fmla="*/ 669860 w 10630864"/>
              <a:gd name="connsiteY4" fmla="*/ 2353273 h 4991475"/>
              <a:gd name="connsiteX5" fmla="*/ 0 w 10630864"/>
              <a:gd name="connsiteY5" fmla="*/ 536028 h 4991475"/>
              <a:gd name="connsiteX6" fmla="*/ 10630864 w 10630864"/>
              <a:gd name="connsiteY6" fmla="*/ 0 h 4991475"/>
              <a:gd name="connsiteX7" fmla="*/ 8928188 w 10630864"/>
              <a:gd name="connsiteY7" fmla="*/ 3849611 h 4991475"/>
              <a:gd name="connsiteX8" fmla="*/ 8928188 w 10630864"/>
              <a:gd name="connsiteY8" fmla="*/ 4991475 h 4991475"/>
              <a:gd name="connsiteX9" fmla="*/ 0 w 10630864"/>
              <a:gd name="connsiteY9" fmla="*/ 4991475 h 4991475"/>
              <a:gd name="connsiteX10" fmla="*/ 0 w 10630864"/>
              <a:gd name="connsiteY10" fmla="*/ 2935582 h 4991475"/>
              <a:gd name="connsiteX11" fmla="*/ 18568 w 10630864"/>
              <a:gd name="connsiteY11" fmla="*/ 2935582 h 4991475"/>
              <a:gd name="connsiteX12" fmla="*/ 18568 w 10630864"/>
              <a:gd name="connsiteY12" fmla="*/ 2353273 h 4991475"/>
              <a:gd name="connsiteX13" fmla="*/ 0 w 10630864"/>
              <a:gd name="connsiteY13" fmla="*/ 2353273 h 4991475"/>
              <a:gd name="connsiteX14" fmla="*/ 0 w 10630864"/>
              <a:gd name="connsiteY14" fmla="*/ 536028 h 4991475"/>
              <a:gd name="connsiteX0" fmla="*/ 669860 w 10630864"/>
              <a:gd name="connsiteY0" fmla="*/ 2353273 h 4991475"/>
              <a:gd name="connsiteX1" fmla="*/ 669860 w 10630864"/>
              <a:gd name="connsiteY1" fmla="*/ 2935582 h 4991475"/>
              <a:gd name="connsiteX2" fmla="*/ 5186695 w 10630864"/>
              <a:gd name="connsiteY2" fmla="*/ 2935582 h 4991475"/>
              <a:gd name="connsiteX3" fmla="*/ 5186695 w 10630864"/>
              <a:gd name="connsiteY3" fmla="*/ 2353273 h 4991475"/>
              <a:gd name="connsiteX4" fmla="*/ 669860 w 10630864"/>
              <a:gd name="connsiteY4" fmla="*/ 2353273 h 4991475"/>
              <a:gd name="connsiteX5" fmla="*/ 0 w 10630864"/>
              <a:gd name="connsiteY5" fmla="*/ 536028 h 4991475"/>
              <a:gd name="connsiteX6" fmla="*/ 10630864 w 10630864"/>
              <a:gd name="connsiteY6" fmla="*/ 0 h 4991475"/>
              <a:gd name="connsiteX7" fmla="*/ 8928188 w 10630864"/>
              <a:gd name="connsiteY7" fmla="*/ 4991475 h 4991475"/>
              <a:gd name="connsiteX8" fmla="*/ 0 w 10630864"/>
              <a:gd name="connsiteY8" fmla="*/ 4991475 h 4991475"/>
              <a:gd name="connsiteX9" fmla="*/ 0 w 10630864"/>
              <a:gd name="connsiteY9" fmla="*/ 2935582 h 4991475"/>
              <a:gd name="connsiteX10" fmla="*/ 18568 w 10630864"/>
              <a:gd name="connsiteY10" fmla="*/ 2935582 h 4991475"/>
              <a:gd name="connsiteX11" fmla="*/ 18568 w 10630864"/>
              <a:gd name="connsiteY11" fmla="*/ 2353273 h 4991475"/>
              <a:gd name="connsiteX12" fmla="*/ 0 w 10630864"/>
              <a:gd name="connsiteY12" fmla="*/ 2353273 h 4991475"/>
              <a:gd name="connsiteX13" fmla="*/ 0 w 10630864"/>
              <a:gd name="connsiteY13" fmla="*/ 536028 h 4991475"/>
              <a:gd name="connsiteX0" fmla="*/ 669860 w 10646629"/>
              <a:gd name="connsiteY0" fmla="*/ 2353273 h 5763985"/>
              <a:gd name="connsiteX1" fmla="*/ 669860 w 10646629"/>
              <a:gd name="connsiteY1" fmla="*/ 2935582 h 5763985"/>
              <a:gd name="connsiteX2" fmla="*/ 5186695 w 10646629"/>
              <a:gd name="connsiteY2" fmla="*/ 2935582 h 5763985"/>
              <a:gd name="connsiteX3" fmla="*/ 5186695 w 10646629"/>
              <a:gd name="connsiteY3" fmla="*/ 2353273 h 5763985"/>
              <a:gd name="connsiteX4" fmla="*/ 669860 w 10646629"/>
              <a:gd name="connsiteY4" fmla="*/ 2353273 h 5763985"/>
              <a:gd name="connsiteX5" fmla="*/ 0 w 10646629"/>
              <a:gd name="connsiteY5" fmla="*/ 536028 h 5763985"/>
              <a:gd name="connsiteX6" fmla="*/ 10630864 w 10646629"/>
              <a:gd name="connsiteY6" fmla="*/ 0 h 5763985"/>
              <a:gd name="connsiteX7" fmla="*/ 10646629 w 10646629"/>
              <a:gd name="connsiteY7" fmla="*/ 5763985 h 5763985"/>
              <a:gd name="connsiteX8" fmla="*/ 0 w 10646629"/>
              <a:gd name="connsiteY8" fmla="*/ 4991475 h 5763985"/>
              <a:gd name="connsiteX9" fmla="*/ 0 w 10646629"/>
              <a:gd name="connsiteY9" fmla="*/ 2935582 h 5763985"/>
              <a:gd name="connsiteX10" fmla="*/ 18568 w 10646629"/>
              <a:gd name="connsiteY10" fmla="*/ 2935582 h 5763985"/>
              <a:gd name="connsiteX11" fmla="*/ 18568 w 10646629"/>
              <a:gd name="connsiteY11" fmla="*/ 2353273 h 5763985"/>
              <a:gd name="connsiteX12" fmla="*/ 0 w 10646629"/>
              <a:gd name="connsiteY12" fmla="*/ 2353273 h 5763985"/>
              <a:gd name="connsiteX13" fmla="*/ 0 w 10646629"/>
              <a:gd name="connsiteY13" fmla="*/ 536028 h 5763985"/>
              <a:gd name="connsiteX0" fmla="*/ 2388302 w 12365071"/>
              <a:gd name="connsiteY0" fmla="*/ 2353273 h 5811282"/>
              <a:gd name="connsiteX1" fmla="*/ 2388302 w 12365071"/>
              <a:gd name="connsiteY1" fmla="*/ 2935582 h 5811282"/>
              <a:gd name="connsiteX2" fmla="*/ 6905137 w 12365071"/>
              <a:gd name="connsiteY2" fmla="*/ 2935582 h 5811282"/>
              <a:gd name="connsiteX3" fmla="*/ 6905137 w 12365071"/>
              <a:gd name="connsiteY3" fmla="*/ 2353273 h 5811282"/>
              <a:gd name="connsiteX4" fmla="*/ 2388302 w 12365071"/>
              <a:gd name="connsiteY4" fmla="*/ 2353273 h 5811282"/>
              <a:gd name="connsiteX5" fmla="*/ 1718442 w 12365071"/>
              <a:gd name="connsiteY5" fmla="*/ 536028 h 5811282"/>
              <a:gd name="connsiteX6" fmla="*/ 12349306 w 12365071"/>
              <a:gd name="connsiteY6" fmla="*/ 0 h 5811282"/>
              <a:gd name="connsiteX7" fmla="*/ 12365071 w 12365071"/>
              <a:gd name="connsiteY7" fmla="*/ 5763985 h 5811282"/>
              <a:gd name="connsiteX8" fmla="*/ 0 w 12365071"/>
              <a:gd name="connsiteY8" fmla="*/ 5811282 h 5811282"/>
              <a:gd name="connsiteX9" fmla="*/ 1718442 w 12365071"/>
              <a:gd name="connsiteY9" fmla="*/ 2935582 h 5811282"/>
              <a:gd name="connsiteX10" fmla="*/ 1737010 w 12365071"/>
              <a:gd name="connsiteY10" fmla="*/ 2935582 h 5811282"/>
              <a:gd name="connsiteX11" fmla="*/ 1737010 w 12365071"/>
              <a:gd name="connsiteY11" fmla="*/ 2353273 h 5811282"/>
              <a:gd name="connsiteX12" fmla="*/ 1718442 w 12365071"/>
              <a:gd name="connsiteY12" fmla="*/ 2353273 h 5811282"/>
              <a:gd name="connsiteX13" fmla="*/ 1718442 w 12365071"/>
              <a:gd name="connsiteY13" fmla="*/ 536028 h 5811282"/>
              <a:gd name="connsiteX0" fmla="*/ 2388302 w 12365071"/>
              <a:gd name="connsiteY0" fmla="*/ 2353273 h 5811282"/>
              <a:gd name="connsiteX1" fmla="*/ 2388302 w 12365071"/>
              <a:gd name="connsiteY1" fmla="*/ 2935582 h 5811282"/>
              <a:gd name="connsiteX2" fmla="*/ 6905137 w 12365071"/>
              <a:gd name="connsiteY2" fmla="*/ 2935582 h 5811282"/>
              <a:gd name="connsiteX3" fmla="*/ 6905137 w 12365071"/>
              <a:gd name="connsiteY3" fmla="*/ 2353273 h 5811282"/>
              <a:gd name="connsiteX4" fmla="*/ 2388302 w 12365071"/>
              <a:gd name="connsiteY4" fmla="*/ 2353273 h 5811282"/>
              <a:gd name="connsiteX5" fmla="*/ 1718442 w 12365071"/>
              <a:gd name="connsiteY5" fmla="*/ 536028 h 5811282"/>
              <a:gd name="connsiteX6" fmla="*/ 12349306 w 12365071"/>
              <a:gd name="connsiteY6" fmla="*/ 0 h 5811282"/>
              <a:gd name="connsiteX7" fmla="*/ 12365071 w 12365071"/>
              <a:gd name="connsiteY7" fmla="*/ 5763985 h 5811282"/>
              <a:gd name="connsiteX8" fmla="*/ 0 w 12365071"/>
              <a:gd name="connsiteY8" fmla="*/ 5811282 h 5811282"/>
              <a:gd name="connsiteX9" fmla="*/ 1718442 w 12365071"/>
              <a:gd name="connsiteY9" fmla="*/ 2935582 h 5811282"/>
              <a:gd name="connsiteX10" fmla="*/ 1737010 w 12365071"/>
              <a:gd name="connsiteY10" fmla="*/ 2353273 h 5811282"/>
              <a:gd name="connsiteX11" fmla="*/ 1718442 w 12365071"/>
              <a:gd name="connsiteY11" fmla="*/ 2353273 h 5811282"/>
              <a:gd name="connsiteX12" fmla="*/ 1718442 w 12365071"/>
              <a:gd name="connsiteY12" fmla="*/ 536028 h 5811282"/>
              <a:gd name="connsiteX0" fmla="*/ 2388302 w 12365071"/>
              <a:gd name="connsiteY0" fmla="*/ 2353273 h 5811282"/>
              <a:gd name="connsiteX1" fmla="*/ 2388302 w 12365071"/>
              <a:gd name="connsiteY1" fmla="*/ 2935582 h 5811282"/>
              <a:gd name="connsiteX2" fmla="*/ 6905137 w 12365071"/>
              <a:gd name="connsiteY2" fmla="*/ 2935582 h 5811282"/>
              <a:gd name="connsiteX3" fmla="*/ 6905137 w 12365071"/>
              <a:gd name="connsiteY3" fmla="*/ 2353273 h 5811282"/>
              <a:gd name="connsiteX4" fmla="*/ 2388302 w 12365071"/>
              <a:gd name="connsiteY4" fmla="*/ 2353273 h 5811282"/>
              <a:gd name="connsiteX5" fmla="*/ 1718442 w 12365071"/>
              <a:gd name="connsiteY5" fmla="*/ 536028 h 5811282"/>
              <a:gd name="connsiteX6" fmla="*/ 12349306 w 12365071"/>
              <a:gd name="connsiteY6" fmla="*/ 0 h 5811282"/>
              <a:gd name="connsiteX7" fmla="*/ 12365071 w 12365071"/>
              <a:gd name="connsiteY7" fmla="*/ 5763985 h 5811282"/>
              <a:gd name="connsiteX8" fmla="*/ 0 w 12365071"/>
              <a:gd name="connsiteY8" fmla="*/ 5811282 h 5811282"/>
              <a:gd name="connsiteX9" fmla="*/ 1718442 w 12365071"/>
              <a:gd name="connsiteY9" fmla="*/ 2935582 h 5811282"/>
              <a:gd name="connsiteX10" fmla="*/ 1737010 w 12365071"/>
              <a:gd name="connsiteY10" fmla="*/ 2353273 h 5811282"/>
              <a:gd name="connsiteX11" fmla="*/ 1718442 w 12365071"/>
              <a:gd name="connsiteY11" fmla="*/ 536028 h 5811282"/>
              <a:gd name="connsiteX0" fmla="*/ 2388302 w 12365071"/>
              <a:gd name="connsiteY0" fmla="*/ 2353273 h 5811282"/>
              <a:gd name="connsiteX1" fmla="*/ 2388302 w 12365071"/>
              <a:gd name="connsiteY1" fmla="*/ 2935582 h 5811282"/>
              <a:gd name="connsiteX2" fmla="*/ 6905137 w 12365071"/>
              <a:gd name="connsiteY2" fmla="*/ 2935582 h 5811282"/>
              <a:gd name="connsiteX3" fmla="*/ 6905137 w 12365071"/>
              <a:gd name="connsiteY3" fmla="*/ 2353273 h 5811282"/>
              <a:gd name="connsiteX4" fmla="*/ 2388302 w 12365071"/>
              <a:gd name="connsiteY4" fmla="*/ 2353273 h 5811282"/>
              <a:gd name="connsiteX5" fmla="*/ 1718442 w 12365071"/>
              <a:gd name="connsiteY5" fmla="*/ 536028 h 5811282"/>
              <a:gd name="connsiteX6" fmla="*/ 12349306 w 12365071"/>
              <a:gd name="connsiteY6" fmla="*/ 0 h 5811282"/>
              <a:gd name="connsiteX7" fmla="*/ 12365071 w 12365071"/>
              <a:gd name="connsiteY7" fmla="*/ 5763985 h 5811282"/>
              <a:gd name="connsiteX8" fmla="*/ 0 w 12365071"/>
              <a:gd name="connsiteY8" fmla="*/ 5811282 h 5811282"/>
              <a:gd name="connsiteX9" fmla="*/ 1737010 w 12365071"/>
              <a:gd name="connsiteY9" fmla="*/ 2353273 h 5811282"/>
              <a:gd name="connsiteX10" fmla="*/ 1718442 w 12365071"/>
              <a:gd name="connsiteY10" fmla="*/ 536028 h 5811282"/>
              <a:gd name="connsiteX0" fmla="*/ 2388302 w 12365071"/>
              <a:gd name="connsiteY0" fmla="*/ 2353273 h 5811282"/>
              <a:gd name="connsiteX1" fmla="*/ 2388302 w 12365071"/>
              <a:gd name="connsiteY1" fmla="*/ 2935582 h 5811282"/>
              <a:gd name="connsiteX2" fmla="*/ 6905137 w 12365071"/>
              <a:gd name="connsiteY2" fmla="*/ 2935582 h 5811282"/>
              <a:gd name="connsiteX3" fmla="*/ 6905137 w 12365071"/>
              <a:gd name="connsiteY3" fmla="*/ 2353273 h 5811282"/>
              <a:gd name="connsiteX4" fmla="*/ 2388302 w 12365071"/>
              <a:gd name="connsiteY4" fmla="*/ 2353273 h 5811282"/>
              <a:gd name="connsiteX5" fmla="*/ 1718442 w 12365071"/>
              <a:gd name="connsiteY5" fmla="*/ 536028 h 5811282"/>
              <a:gd name="connsiteX6" fmla="*/ 12349306 w 12365071"/>
              <a:gd name="connsiteY6" fmla="*/ 0 h 5811282"/>
              <a:gd name="connsiteX7" fmla="*/ 12365071 w 12365071"/>
              <a:gd name="connsiteY7" fmla="*/ 5763985 h 5811282"/>
              <a:gd name="connsiteX8" fmla="*/ 0 w 12365071"/>
              <a:gd name="connsiteY8" fmla="*/ 5811282 h 5811282"/>
              <a:gd name="connsiteX9" fmla="*/ 1718442 w 12365071"/>
              <a:gd name="connsiteY9" fmla="*/ 536028 h 5811282"/>
              <a:gd name="connsiteX0" fmla="*/ 2388302 w 12365071"/>
              <a:gd name="connsiteY0" fmla="*/ 2353273 h 5811282"/>
              <a:gd name="connsiteX1" fmla="*/ 2388302 w 12365071"/>
              <a:gd name="connsiteY1" fmla="*/ 2935582 h 5811282"/>
              <a:gd name="connsiteX2" fmla="*/ 6905137 w 12365071"/>
              <a:gd name="connsiteY2" fmla="*/ 2935582 h 5811282"/>
              <a:gd name="connsiteX3" fmla="*/ 6905137 w 12365071"/>
              <a:gd name="connsiteY3" fmla="*/ 2353273 h 5811282"/>
              <a:gd name="connsiteX4" fmla="*/ 2388302 w 12365071"/>
              <a:gd name="connsiteY4" fmla="*/ 2353273 h 5811282"/>
              <a:gd name="connsiteX5" fmla="*/ 31531 w 12365071"/>
              <a:gd name="connsiteY5" fmla="*/ 0 h 5811282"/>
              <a:gd name="connsiteX6" fmla="*/ 12349306 w 12365071"/>
              <a:gd name="connsiteY6" fmla="*/ 0 h 5811282"/>
              <a:gd name="connsiteX7" fmla="*/ 12365071 w 12365071"/>
              <a:gd name="connsiteY7" fmla="*/ 5763985 h 5811282"/>
              <a:gd name="connsiteX8" fmla="*/ 0 w 12365071"/>
              <a:gd name="connsiteY8" fmla="*/ 5811282 h 5811282"/>
              <a:gd name="connsiteX9" fmla="*/ 31531 w 12365071"/>
              <a:gd name="connsiteY9" fmla="*/ 0 h 5811282"/>
              <a:gd name="connsiteX0" fmla="*/ 2356771 w 12333540"/>
              <a:gd name="connsiteY0" fmla="*/ 2353273 h 5827048"/>
              <a:gd name="connsiteX1" fmla="*/ 2356771 w 12333540"/>
              <a:gd name="connsiteY1" fmla="*/ 2935582 h 5827048"/>
              <a:gd name="connsiteX2" fmla="*/ 6873606 w 12333540"/>
              <a:gd name="connsiteY2" fmla="*/ 2935582 h 5827048"/>
              <a:gd name="connsiteX3" fmla="*/ 6873606 w 12333540"/>
              <a:gd name="connsiteY3" fmla="*/ 2353273 h 5827048"/>
              <a:gd name="connsiteX4" fmla="*/ 2356771 w 12333540"/>
              <a:gd name="connsiteY4" fmla="*/ 2353273 h 5827048"/>
              <a:gd name="connsiteX5" fmla="*/ 0 w 12333540"/>
              <a:gd name="connsiteY5" fmla="*/ 0 h 5827048"/>
              <a:gd name="connsiteX6" fmla="*/ 12317775 w 12333540"/>
              <a:gd name="connsiteY6" fmla="*/ 0 h 5827048"/>
              <a:gd name="connsiteX7" fmla="*/ 12333540 w 12333540"/>
              <a:gd name="connsiteY7" fmla="*/ 5763985 h 5827048"/>
              <a:gd name="connsiteX8" fmla="*/ 0 w 12333540"/>
              <a:gd name="connsiteY8" fmla="*/ 5827048 h 5827048"/>
              <a:gd name="connsiteX9" fmla="*/ 0 w 12333540"/>
              <a:gd name="connsiteY9" fmla="*/ 0 h 5827048"/>
              <a:gd name="connsiteX0" fmla="*/ 2356771 w 12317775"/>
              <a:gd name="connsiteY0" fmla="*/ 2353273 h 5827048"/>
              <a:gd name="connsiteX1" fmla="*/ 2356771 w 12317775"/>
              <a:gd name="connsiteY1" fmla="*/ 2935582 h 5827048"/>
              <a:gd name="connsiteX2" fmla="*/ 6873606 w 12317775"/>
              <a:gd name="connsiteY2" fmla="*/ 2935582 h 5827048"/>
              <a:gd name="connsiteX3" fmla="*/ 6873606 w 12317775"/>
              <a:gd name="connsiteY3" fmla="*/ 2353273 h 5827048"/>
              <a:gd name="connsiteX4" fmla="*/ 2356771 w 12317775"/>
              <a:gd name="connsiteY4" fmla="*/ 2353273 h 5827048"/>
              <a:gd name="connsiteX5" fmla="*/ 0 w 12317775"/>
              <a:gd name="connsiteY5" fmla="*/ 0 h 5827048"/>
              <a:gd name="connsiteX6" fmla="*/ 12317775 w 12317775"/>
              <a:gd name="connsiteY6" fmla="*/ 0 h 5827048"/>
              <a:gd name="connsiteX7" fmla="*/ 12286244 w 12317775"/>
              <a:gd name="connsiteY7" fmla="*/ 5811282 h 5827048"/>
              <a:gd name="connsiteX8" fmla="*/ 0 w 12317775"/>
              <a:gd name="connsiteY8" fmla="*/ 5827048 h 5827048"/>
              <a:gd name="connsiteX9" fmla="*/ 0 w 12317775"/>
              <a:gd name="connsiteY9" fmla="*/ 0 h 5827048"/>
              <a:gd name="connsiteX0" fmla="*/ 2356771 w 12286244"/>
              <a:gd name="connsiteY0" fmla="*/ 2353273 h 5827048"/>
              <a:gd name="connsiteX1" fmla="*/ 2356771 w 12286244"/>
              <a:gd name="connsiteY1" fmla="*/ 2935582 h 5827048"/>
              <a:gd name="connsiteX2" fmla="*/ 6873606 w 12286244"/>
              <a:gd name="connsiteY2" fmla="*/ 2935582 h 5827048"/>
              <a:gd name="connsiteX3" fmla="*/ 6873606 w 12286244"/>
              <a:gd name="connsiteY3" fmla="*/ 2353273 h 5827048"/>
              <a:gd name="connsiteX4" fmla="*/ 2356771 w 12286244"/>
              <a:gd name="connsiteY4" fmla="*/ 2353273 h 5827048"/>
              <a:gd name="connsiteX5" fmla="*/ 0 w 12286244"/>
              <a:gd name="connsiteY5" fmla="*/ 0 h 5827048"/>
              <a:gd name="connsiteX6" fmla="*/ 12286244 w 12286244"/>
              <a:gd name="connsiteY6" fmla="*/ 15765 h 5827048"/>
              <a:gd name="connsiteX7" fmla="*/ 12286244 w 12286244"/>
              <a:gd name="connsiteY7" fmla="*/ 5811282 h 5827048"/>
              <a:gd name="connsiteX8" fmla="*/ 0 w 12286244"/>
              <a:gd name="connsiteY8" fmla="*/ 5827048 h 5827048"/>
              <a:gd name="connsiteX9" fmla="*/ 0 w 12286244"/>
              <a:gd name="connsiteY9" fmla="*/ 0 h 5827048"/>
              <a:gd name="connsiteX0" fmla="*/ 2356771 w 12286244"/>
              <a:gd name="connsiteY0" fmla="*/ 2369039 h 5842814"/>
              <a:gd name="connsiteX1" fmla="*/ 2356771 w 12286244"/>
              <a:gd name="connsiteY1" fmla="*/ 2951348 h 5842814"/>
              <a:gd name="connsiteX2" fmla="*/ 6873606 w 12286244"/>
              <a:gd name="connsiteY2" fmla="*/ 2951348 h 5842814"/>
              <a:gd name="connsiteX3" fmla="*/ 6873606 w 12286244"/>
              <a:gd name="connsiteY3" fmla="*/ 2369039 h 5842814"/>
              <a:gd name="connsiteX4" fmla="*/ 2356771 w 12286244"/>
              <a:gd name="connsiteY4" fmla="*/ 2369039 h 5842814"/>
              <a:gd name="connsiteX5" fmla="*/ 31531 w 12286244"/>
              <a:gd name="connsiteY5" fmla="*/ 0 h 5842814"/>
              <a:gd name="connsiteX6" fmla="*/ 12286244 w 12286244"/>
              <a:gd name="connsiteY6" fmla="*/ 31531 h 5842814"/>
              <a:gd name="connsiteX7" fmla="*/ 12286244 w 12286244"/>
              <a:gd name="connsiteY7" fmla="*/ 5827048 h 5842814"/>
              <a:gd name="connsiteX8" fmla="*/ 0 w 12286244"/>
              <a:gd name="connsiteY8" fmla="*/ 5842814 h 5842814"/>
              <a:gd name="connsiteX9" fmla="*/ 31531 w 12286244"/>
              <a:gd name="connsiteY9" fmla="*/ 0 h 5842814"/>
              <a:gd name="connsiteX0" fmla="*/ 2341005 w 12270478"/>
              <a:gd name="connsiteY0" fmla="*/ 2369039 h 5858579"/>
              <a:gd name="connsiteX1" fmla="*/ 2341005 w 12270478"/>
              <a:gd name="connsiteY1" fmla="*/ 2951348 h 5858579"/>
              <a:gd name="connsiteX2" fmla="*/ 6857840 w 12270478"/>
              <a:gd name="connsiteY2" fmla="*/ 2951348 h 5858579"/>
              <a:gd name="connsiteX3" fmla="*/ 6857840 w 12270478"/>
              <a:gd name="connsiteY3" fmla="*/ 2369039 h 5858579"/>
              <a:gd name="connsiteX4" fmla="*/ 2341005 w 12270478"/>
              <a:gd name="connsiteY4" fmla="*/ 2369039 h 5858579"/>
              <a:gd name="connsiteX5" fmla="*/ 15765 w 12270478"/>
              <a:gd name="connsiteY5" fmla="*/ 0 h 5858579"/>
              <a:gd name="connsiteX6" fmla="*/ 12270478 w 12270478"/>
              <a:gd name="connsiteY6" fmla="*/ 31531 h 5858579"/>
              <a:gd name="connsiteX7" fmla="*/ 12270478 w 12270478"/>
              <a:gd name="connsiteY7" fmla="*/ 5827048 h 5858579"/>
              <a:gd name="connsiteX8" fmla="*/ 0 w 12270478"/>
              <a:gd name="connsiteY8" fmla="*/ 5858579 h 5858579"/>
              <a:gd name="connsiteX9" fmla="*/ 15765 w 12270478"/>
              <a:gd name="connsiteY9" fmla="*/ 0 h 5858579"/>
              <a:gd name="connsiteX0" fmla="*/ 2341005 w 12270478"/>
              <a:gd name="connsiteY0" fmla="*/ 2369039 h 5858579"/>
              <a:gd name="connsiteX1" fmla="*/ 2341005 w 12270478"/>
              <a:gd name="connsiteY1" fmla="*/ 2951348 h 5858579"/>
              <a:gd name="connsiteX2" fmla="*/ 6857840 w 12270478"/>
              <a:gd name="connsiteY2" fmla="*/ 2369039 h 5858579"/>
              <a:gd name="connsiteX3" fmla="*/ 2341005 w 12270478"/>
              <a:gd name="connsiteY3" fmla="*/ 2369039 h 5858579"/>
              <a:gd name="connsiteX4" fmla="*/ 15765 w 12270478"/>
              <a:gd name="connsiteY4" fmla="*/ 0 h 5858579"/>
              <a:gd name="connsiteX5" fmla="*/ 12270478 w 12270478"/>
              <a:gd name="connsiteY5" fmla="*/ 31531 h 5858579"/>
              <a:gd name="connsiteX6" fmla="*/ 12270478 w 12270478"/>
              <a:gd name="connsiteY6" fmla="*/ 5827048 h 5858579"/>
              <a:gd name="connsiteX7" fmla="*/ 0 w 12270478"/>
              <a:gd name="connsiteY7" fmla="*/ 5858579 h 5858579"/>
              <a:gd name="connsiteX8" fmla="*/ 15765 w 12270478"/>
              <a:gd name="connsiteY8" fmla="*/ 0 h 5858579"/>
              <a:gd name="connsiteX0" fmla="*/ 2341005 w 12270478"/>
              <a:gd name="connsiteY0" fmla="*/ 2369039 h 5858579"/>
              <a:gd name="connsiteX1" fmla="*/ 2341005 w 12270478"/>
              <a:gd name="connsiteY1" fmla="*/ 2951348 h 5858579"/>
              <a:gd name="connsiteX2" fmla="*/ 2341005 w 12270478"/>
              <a:gd name="connsiteY2" fmla="*/ 2369039 h 5858579"/>
              <a:gd name="connsiteX3" fmla="*/ 15765 w 12270478"/>
              <a:gd name="connsiteY3" fmla="*/ 0 h 5858579"/>
              <a:gd name="connsiteX4" fmla="*/ 12270478 w 12270478"/>
              <a:gd name="connsiteY4" fmla="*/ 31531 h 5858579"/>
              <a:gd name="connsiteX5" fmla="*/ 12270478 w 12270478"/>
              <a:gd name="connsiteY5" fmla="*/ 5827048 h 5858579"/>
              <a:gd name="connsiteX6" fmla="*/ 0 w 12270478"/>
              <a:gd name="connsiteY6" fmla="*/ 5858579 h 5858579"/>
              <a:gd name="connsiteX7" fmla="*/ 15765 w 12270478"/>
              <a:gd name="connsiteY7" fmla="*/ 0 h 5858579"/>
              <a:gd name="connsiteX0" fmla="*/ 15765 w 12270478"/>
              <a:gd name="connsiteY0" fmla="*/ 0 h 5858579"/>
              <a:gd name="connsiteX1" fmla="*/ 12270478 w 12270478"/>
              <a:gd name="connsiteY1" fmla="*/ 31531 h 5858579"/>
              <a:gd name="connsiteX2" fmla="*/ 12270478 w 12270478"/>
              <a:gd name="connsiteY2" fmla="*/ 5827048 h 5858579"/>
              <a:gd name="connsiteX3" fmla="*/ 0 w 12270478"/>
              <a:gd name="connsiteY3" fmla="*/ 5858579 h 5858579"/>
              <a:gd name="connsiteX4" fmla="*/ 15765 w 12270478"/>
              <a:gd name="connsiteY4" fmla="*/ 0 h 585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0478" h="5858579">
                <a:moveTo>
                  <a:pt x="15765" y="0"/>
                </a:moveTo>
                <a:lnTo>
                  <a:pt x="12270478" y="31531"/>
                </a:lnTo>
                <a:lnTo>
                  <a:pt x="12270478" y="5827048"/>
                </a:lnTo>
                <a:lnTo>
                  <a:pt x="0" y="5858579"/>
                </a:lnTo>
                <a:lnTo>
                  <a:pt x="15765" y="0"/>
                </a:lnTo>
                <a:close/>
              </a:path>
            </a:pathLst>
          </a:custGeom>
          <a:solidFill>
            <a:schemeClr val="tx1">
              <a:lumMod val="85000"/>
              <a:lumOff val="1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1B1AC62-6CFF-6D4C-AA63-EDE8D6AAC991}"/>
              </a:ext>
            </a:extLst>
          </p:cNvPr>
          <p:cNvSpPr/>
          <p:nvPr/>
        </p:nvSpPr>
        <p:spPr>
          <a:xfrm>
            <a:off x="0" y="0"/>
            <a:ext cx="12192000" cy="1169043"/>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700CB914-CC4F-5A46-8DA2-D3799E02E27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6917"/>
          <a:stretch/>
        </p:blipFill>
        <p:spPr>
          <a:xfrm>
            <a:off x="2978171" y="1274741"/>
            <a:ext cx="5942933" cy="5486400"/>
          </a:xfrm>
          <a:prstGeom prst="rect">
            <a:avLst/>
          </a:prstGeom>
        </p:spPr>
      </p:pic>
      <p:sp>
        <p:nvSpPr>
          <p:cNvPr id="4" name="Title 3">
            <a:extLst>
              <a:ext uri="{FF2B5EF4-FFF2-40B4-BE49-F238E27FC236}">
                <a16:creationId xmlns:a16="http://schemas.microsoft.com/office/drawing/2014/main" id="{6F293ACC-1676-004E-8ABF-D24AAAC15BF5}"/>
              </a:ext>
            </a:extLst>
          </p:cNvPr>
          <p:cNvSpPr>
            <a:spLocks noGrp="1"/>
          </p:cNvSpPr>
          <p:nvPr>
            <p:ph type="title"/>
          </p:nvPr>
        </p:nvSpPr>
        <p:spPr/>
        <p:txBody>
          <a:bodyPr/>
          <a:lstStyle/>
          <a:p>
            <a:r>
              <a:rPr lang="en-US" b="0" dirty="0">
                <a:latin typeface="+mn-lt"/>
              </a:rPr>
              <a:t>Student collaboration examples </a:t>
            </a:r>
          </a:p>
        </p:txBody>
      </p:sp>
      <p:grpSp>
        <p:nvGrpSpPr>
          <p:cNvPr id="6" name="Group 5">
            <a:extLst>
              <a:ext uri="{FF2B5EF4-FFF2-40B4-BE49-F238E27FC236}">
                <a16:creationId xmlns:a16="http://schemas.microsoft.com/office/drawing/2014/main" id="{9E591287-6479-7A42-A872-B775F7CF85AE}"/>
              </a:ext>
            </a:extLst>
          </p:cNvPr>
          <p:cNvGrpSpPr/>
          <p:nvPr/>
        </p:nvGrpSpPr>
        <p:grpSpPr>
          <a:xfrm>
            <a:off x="2978171" y="1259991"/>
            <a:ext cx="5942933" cy="5501150"/>
            <a:chOff x="2978171" y="1259991"/>
            <a:chExt cx="5942933" cy="5501150"/>
          </a:xfrm>
        </p:grpSpPr>
        <p:sp>
          <p:nvSpPr>
            <p:cNvPr id="15" name="Freeform 14">
              <a:extLst>
                <a:ext uri="{FF2B5EF4-FFF2-40B4-BE49-F238E27FC236}">
                  <a16:creationId xmlns:a16="http://schemas.microsoft.com/office/drawing/2014/main" id="{828F0787-636F-9E44-8635-691953F33096}"/>
                </a:ext>
              </a:extLst>
            </p:cNvPr>
            <p:cNvSpPr/>
            <p:nvPr/>
          </p:nvSpPr>
          <p:spPr>
            <a:xfrm>
              <a:off x="2978171" y="1259991"/>
              <a:ext cx="5942933" cy="5501150"/>
            </a:xfrm>
            <a:custGeom>
              <a:avLst/>
              <a:gdLst>
                <a:gd name="connsiteX0" fmla="*/ 4767335 w 5942933"/>
                <a:gd name="connsiteY0" fmla="*/ 0 h 5501150"/>
                <a:gd name="connsiteX1" fmla="*/ 5942933 w 5942933"/>
                <a:gd name="connsiteY1" fmla="*/ 0 h 5501150"/>
                <a:gd name="connsiteX2" fmla="*/ 5942933 w 5942933"/>
                <a:gd name="connsiteY2" fmla="*/ 5501149 h 5501150"/>
                <a:gd name="connsiteX3" fmla="*/ 4767335 w 5942933"/>
                <a:gd name="connsiteY3" fmla="*/ 5501149 h 5501150"/>
                <a:gd name="connsiteX4" fmla="*/ 4767335 w 5942933"/>
                <a:gd name="connsiteY4" fmla="*/ 1127608 h 5501150"/>
                <a:gd name="connsiteX5" fmla="*/ 248713 w 5942933"/>
                <a:gd name="connsiteY5" fmla="*/ 1127608 h 5501150"/>
                <a:gd name="connsiteX6" fmla="*/ 248713 w 5942933"/>
                <a:gd name="connsiteY6" fmla="*/ 5501150 h 5501150"/>
                <a:gd name="connsiteX7" fmla="*/ 0 w 5942933"/>
                <a:gd name="connsiteY7" fmla="*/ 5501150 h 5501150"/>
                <a:gd name="connsiteX8" fmla="*/ 0 w 5942933"/>
                <a:gd name="connsiteY8" fmla="*/ 14750 h 5501150"/>
                <a:gd name="connsiteX9" fmla="*/ 150840 w 5942933"/>
                <a:gd name="connsiteY9" fmla="*/ 14750 h 5501150"/>
                <a:gd name="connsiteX10" fmla="*/ 248713 w 5942933"/>
                <a:gd name="connsiteY10" fmla="*/ 14750 h 5501150"/>
                <a:gd name="connsiteX11" fmla="*/ 4767335 w 5942933"/>
                <a:gd name="connsiteY11" fmla="*/ 14750 h 5501150"/>
                <a:gd name="connsiteX0" fmla="*/ 4767335 w 5942933"/>
                <a:gd name="connsiteY0" fmla="*/ 14750 h 5501150"/>
                <a:gd name="connsiteX1" fmla="*/ 5942933 w 5942933"/>
                <a:gd name="connsiteY1" fmla="*/ 0 h 5501150"/>
                <a:gd name="connsiteX2" fmla="*/ 5942933 w 5942933"/>
                <a:gd name="connsiteY2" fmla="*/ 5501149 h 5501150"/>
                <a:gd name="connsiteX3" fmla="*/ 4767335 w 5942933"/>
                <a:gd name="connsiteY3" fmla="*/ 5501149 h 5501150"/>
                <a:gd name="connsiteX4" fmla="*/ 4767335 w 5942933"/>
                <a:gd name="connsiteY4" fmla="*/ 1127608 h 5501150"/>
                <a:gd name="connsiteX5" fmla="*/ 248713 w 5942933"/>
                <a:gd name="connsiteY5" fmla="*/ 1127608 h 5501150"/>
                <a:gd name="connsiteX6" fmla="*/ 248713 w 5942933"/>
                <a:gd name="connsiteY6" fmla="*/ 5501150 h 5501150"/>
                <a:gd name="connsiteX7" fmla="*/ 0 w 5942933"/>
                <a:gd name="connsiteY7" fmla="*/ 5501150 h 5501150"/>
                <a:gd name="connsiteX8" fmla="*/ 0 w 5942933"/>
                <a:gd name="connsiteY8" fmla="*/ 14750 h 5501150"/>
                <a:gd name="connsiteX9" fmla="*/ 150840 w 5942933"/>
                <a:gd name="connsiteY9" fmla="*/ 14750 h 5501150"/>
                <a:gd name="connsiteX10" fmla="*/ 248713 w 5942933"/>
                <a:gd name="connsiteY10" fmla="*/ 14750 h 5501150"/>
                <a:gd name="connsiteX11" fmla="*/ 4767335 w 5942933"/>
                <a:gd name="connsiteY11" fmla="*/ 14750 h 5501150"/>
                <a:gd name="connsiteX0" fmla="*/ 248713 w 5942933"/>
                <a:gd name="connsiteY0" fmla="*/ 14750 h 5501150"/>
                <a:gd name="connsiteX1" fmla="*/ 5942933 w 5942933"/>
                <a:gd name="connsiteY1" fmla="*/ 0 h 5501150"/>
                <a:gd name="connsiteX2" fmla="*/ 5942933 w 5942933"/>
                <a:gd name="connsiteY2" fmla="*/ 5501149 h 5501150"/>
                <a:gd name="connsiteX3" fmla="*/ 4767335 w 5942933"/>
                <a:gd name="connsiteY3" fmla="*/ 5501149 h 5501150"/>
                <a:gd name="connsiteX4" fmla="*/ 4767335 w 5942933"/>
                <a:gd name="connsiteY4" fmla="*/ 1127608 h 5501150"/>
                <a:gd name="connsiteX5" fmla="*/ 248713 w 5942933"/>
                <a:gd name="connsiteY5" fmla="*/ 1127608 h 5501150"/>
                <a:gd name="connsiteX6" fmla="*/ 248713 w 5942933"/>
                <a:gd name="connsiteY6" fmla="*/ 5501150 h 5501150"/>
                <a:gd name="connsiteX7" fmla="*/ 0 w 5942933"/>
                <a:gd name="connsiteY7" fmla="*/ 5501150 h 5501150"/>
                <a:gd name="connsiteX8" fmla="*/ 0 w 5942933"/>
                <a:gd name="connsiteY8" fmla="*/ 14750 h 5501150"/>
                <a:gd name="connsiteX9" fmla="*/ 150840 w 5942933"/>
                <a:gd name="connsiteY9" fmla="*/ 14750 h 5501150"/>
                <a:gd name="connsiteX10" fmla="*/ 248713 w 5942933"/>
                <a:gd name="connsiteY10" fmla="*/ 14750 h 5501150"/>
                <a:gd name="connsiteX0" fmla="*/ 150840 w 5942933"/>
                <a:gd name="connsiteY0" fmla="*/ 14750 h 5501150"/>
                <a:gd name="connsiteX1" fmla="*/ 5942933 w 5942933"/>
                <a:gd name="connsiteY1" fmla="*/ 0 h 5501150"/>
                <a:gd name="connsiteX2" fmla="*/ 5942933 w 5942933"/>
                <a:gd name="connsiteY2" fmla="*/ 5501149 h 5501150"/>
                <a:gd name="connsiteX3" fmla="*/ 4767335 w 5942933"/>
                <a:gd name="connsiteY3" fmla="*/ 5501149 h 5501150"/>
                <a:gd name="connsiteX4" fmla="*/ 4767335 w 5942933"/>
                <a:gd name="connsiteY4" fmla="*/ 1127608 h 5501150"/>
                <a:gd name="connsiteX5" fmla="*/ 248713 w 5942933"/>
                <a:gd name="connsiteY5" fmla="*/ 1127608 h 5501150"/>
                <a:gd name="connsiteX6" fmla="*/ 248713 w 5942933"/>
                <a:gd name="connsiteY6" fmla="*/ 5501150 h 5501150"/>
                <a:gd name="connsiteX7" fmla="*/ 0 w 5942933"/>
                <a:gd name="connsiteY7" fmla="*/ 5501150 h 5501150"/>
                <a:gd name="connsiteX8" fmla="*/ 0 w 5942933"/>
                <a:gd name="connsiteY8" fmla="*/ 14750 h 5501150"/>
                <a:gd name="connsiteX9" fmla="*/ 150840 w 5942933"/>
                <a:gd name="connsiteY9" fmla="*/ 14750 h 5501150"/>
                <a:gd name="connsiteX0" fmla="*/ 0 w 5942933"/>
                <a:gd name="connsiteY0" fmla="*/ 14750 h 5501150"/>
                <a:gd name="connsiteX1" fmla="*/ 5942933 w 5942933"/>
                <a:gd name="connsiteY1" fmla="*/ 0 h 5501150"/>
                <a:gd name="connsiteX2" fmla="*/ 5942933 w 5942933"/>
                <a:gd name="connsiteY2" fmla="*/ 5501149 h 5501150"/>
                <a:gd name="connsiteX3" fmla="*/ 4767335 w 5942933"/>
                <a:gd name="connsiteY3" fmla="*/ 5501149 h 5501150"/>
                <a:gd name="connsiteX4" fmla="*/ 4767335 w 5942933"/>
                <a:gd name="connsiteY4" fmla="*/ 1127608 h 5501150"/>
                <a:gd name="connsiteX5" fmla="*/ 248713 w 5942933"/>
                <a:gd name="connsiteY5" fmla="*/ 1127608 h 5501150"/>
                <a:gd name="connsiteX6" fmla="*/ 248713 w 5942933"/>
                <a:gd name="connsiteY6" fmla="*/ 5501150 h 5501150"/>
                <a:gd name="connsiteX7" fmla="*/ 0 w 5942933"/>
                <a:gd name="connsiteY7" fmla="*/ 5501150 h 5501150"/>
                <a:gd name="connsiteX8" fmla="*/ 0 w 5942933"/>
                <a:gd name="connsiteY8" fmla="*/ 14750 h 5501150"/>
                <a:gd name="connsiteX0" fmla="*/ 0 w 5942933"/>
                <a:gd name="connsiteY0" fmla="*/ 4590 h 5501150"/>
                <a:gd name="connsiteX1" fmla="*/ 5942933 w 5942933"/>
                <a:gd name="connsiteY1" fmla="*/ 0 h 5501150"/>
                <a:gd name="connsiteX2" fmla="*/ 5942933 w 5942933"/>
                <a:gd name="connsiteY2" fmla="*/ 5501149 h 5501150"/>
                <a:gd name="connsiteX3" fmla="*/ 4767335 w 5942933"/>
                <a:gd name="connsiteY3" fmla="*/ 5501149 h 5501150"/>
                <a:gd name="connsiteX4" fmla="*/ 4767335 w 5942933"/>
                <a:gd name="connsiteY4" fmla="*/ 1127608 h 5501150"/>
                <a:gd name="connsiteX5" fmla="*/ 248713 w 5942933"/>
                <a:gd name="connsiteY5" fmla="*/ 1127608 h 5501150"/>
                <a:gd name="connsiteX6" fmla="*/ 248713 w 5942933"/>
                <a:gd name="connsiteY6" fmla="*/ 5501150 h 5501150"/>
                <a:gd name="connsiteX7" fmla="*/ 0 w 5942933"/>
                <a:gd name="connsiteY7" fmla="*/ 5501150 h 5501150"/>
                <a:gd name="connsiteX8" fmla="*/ 0 w 5942933"/>
                <a:gd name="connsiteY8" fmla="*/ 4590 h 550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42933" h="5501150">
                  <a:moveTo>
                    <a:pt x="0" y="4590"/>
                  </a:moveTo>
                  <a:lnTo>
                    <a:pt x="5942933" y="0"/>
                  </a:lnTo>
                  <a:lnTo>
                    <a:pt x="5942933" y="5501149"/>
                  </a:lnTo>
                  <a:lnTo>
                    <a:pt x="4767335" y="5501149"/>
                  </a:lnTo>
                  <a:lnTo>
                    <a:pt x="4767335" y="1127608"/>
                  </a:lnTo>
                  <a:lnTo>
                    <a:pt x="248713" y="1127608"/>
                  </a:lnTo>
                  <a:lnTo>
                    <a:pt x="248713" y="5501150"/>
                  </a:lnTo>
                  <a:lnTo>
                    <a:pt x="0" y="5501150"/>
                  </a:lnTo>
                  <a:lnTo>
                    <a:pt x="0" y="4590"/>
                  </a:lnTo>
                  <a:close/>
                </a:path>
              </a:pathLst>
            </a:custGeom>
            <a:solidFill>
              <a:schemeClr val="tx1">
                <a:lumMod val="85000"/>
                <a:lumOff val="1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yellow highlight - comment">
              <a:extLst>
                <a:ext uri="{FF2B5EF4-FFF2-40B4-BE49-F238E27FC236}">
                  <a16:creationId xmlns:a16="http://schemas.microsoft.com/office/drawing/2014/main" id="{05290242-7835-CF4F-8754-DE5A0FDF189F}"/>
                </a:ext>
              </a:extLst>
            </p:cNvPr>
            <p:cNvSpPr/>
            <p:nvPr/>
          </p:nvSpPr>
          <p:spPr>
            <a:xfrm>
              <a:off x="3226884" y="2387600"/>
              <a:ext cx="4518622" cy="4373541"/>
            </a:xfrm>
            <a:prstGeom prst="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0637399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eeform 17">
            <a:extLst>
              <a:ext uri="{FF2B5EF4-FFF2-40B4-BE49-F238E27FC236}">
                <a16:creationId xmlns:a16="http://schemas.microsoft.com/office/drawing/2014/main" id="{8026CCCD-3EFE-BB48-A2D9-0C3E826852F6}"/>
              </a:ext>
            </a:extLst>
          </p:cNvPr>
          <p:cNvSpPr/>
          <p:nvPr/>
        </p:nvSpPr>
        <p:spPr>
          <a:xfrm>
            <a:off x="-55006" y="1100391"/>
            <a:ext cx="12270478" cy="5858579"/>
          </a:xfrm>
          <a:custGeom>
            <a:avLst/>
            <a:gdLst>
              <a:gd name="connsiteX0" fmla="*/ 669860 w 8928188"/>
              <a:gd name="connsiteY0" fmla="*/ 1817245 h 4455447"/>
              <a:gd name="connsiteX1" fmla="*/ 669860 w 8928188"/>
              <a:gd name="connsiteY1" fmla="*/ 2399554 h 4455447"/>
              <a:gd name="connsiteX2" fmla="*/ 5186695 w 8928188"/>
              <a:gd name="connsiteY2" fmla="*/ 2399554 h 4455447"/>
              <a:gd name="connsiteX3" fmla="*/ 5186695 w 8928188"/>
              <a:gd name="connsiteY3" fmla="*/ 1817245 h 4455447"/>
              <a:gd name="connsiteX4" fmla="*/ 0 w 8928188"/>
              <a:gd name="connsiteY4" fmla="*/ 0 h 4455447"/>
              <a:gd name="connsiteX5" fmla="*/ 8928188 w 8928188"/>
              <a:gd name="connsiteY5" fmla="*/ 0 h 4455447"/>
              <a:gd name="connsiteX6" fmla="*/ 8928188 w 8928188"/>
              <a:gd name="connsiteY6" fmla="*/ 1257690 h 4455447"/>
              <a:gd name="connsiteX7" fmla="*/ 8928188 w 8928188"/>
              <a:gd name="connsiteY7" fmla="*/ 1817245 h 4455447"/>
              <a:gd name="connsiteX8" fmla="*/ 8928188 w 8928188"/>
              <a:gd name="connsiteY8" fmla="*/ 2399554 h 4455447"/>
              <a:gd name="connsiteX9" fmla="*/ 8928188 w 8928188"/>
              <a:gd name="connsiteY9" fmla="*/ 3313583 h 4455447"/>
              <a:gd name="connsiteX10" fmla="*/ 8928188 w 8928188"/>
              <a:gd name="connsiteY10" fmla="*/ 4455447 h 4455447"/>
              <a:gd name="connsiteX11" fmla="*/ 0 w 8928188"/>
              <a:gd name="connsiteY11" fmla="*/ 4455447 h 4455447"/>
              <a:gd name="connsiteX12" fmla="*/ 0 w 8928188"/>
              <a:gd name="connsiteY12" fmla="*/ 2399554 h 4455447"/>
              <a:gd name="connsiteX13" fmla="*/ 18568 w 8928188"/>
              <a:gd name="connsiteY13" fmla="*/ 2399554 h 4455447"/>
              <a:gd name="connsiteX14" fmla="*/ 18568 w 8928188"/>
              <a:gd name="connsiteY14" fmla="*/ 1817245 h 4455447"/>
              <a:gd name="connsiteX15" fmla="*/ 0 w 8928188"/>
              <a:gd name="connsiteY15" fmla="*/ 1817245 h 4455447"/>
              <a:gd name="connsiteX0" fmla="*/ 669860 w 10630864"/>
              <a:gd name="connsiteY0" fmla="*/ 2353273 h 4991475"/>
              <a:gd name="connsiteX1" fmla="*/ 669860 w 10630864"/>
              <a:gd name="connsiteY1" fmla="*/ 2935582 h 4991475"/>
              <a:gd name="connsiteX2" fmla="*/ 5186695 w 10630864"/>
              <a:gd name="connsiteY2" fmla="*/ 2935582 h 4991475"/>
              <a:gd name="connsiteX3" fmla="*/ 5186695 w 10630864"/>
              <a:gd name="connsiteY3" fmla="*/ 2353273 h 4991475"/>
              <a:gd name="connsiteX4" fmla="*/ 669860 w 10630864"/>
              <a:gd name="connsiteY4" fmla="*/ 2353273 h 4991475"/>
              <a:gd name="connsiteX5" fmla="*/ 0 w 10630864"/>
              <a:gd name="connsiteY5" fmla="*/ 536028 h 4991475"/>
              <a:gd name="connsiteX6" fmla="*/ 10630864 w 10630864"/>
              <a:gd name="connsiteY6" fmla="*/ 0 h 4991475"/>
              <a:gd name="connsiteX7" fmla="*/ 8928188 w 10630864"/>
              <a:gd name="connsiteY7" fmla="*/ 1793718 h 4991475"/>
              <a:gd name="connsiteX8" fmla="*/ 8928188 w 10630864"/>
              <a:gd name="connsiteY8" fmla="*/ 2353273 h 4991475"/>
              <a:gd name="connsiteX9" fmla="*/ 8928188 w 10630864"/>
              <a:gd name="connsiteY9" fmla="*/ 2935582 h 4991475"/>
              <a:gd name="connsiteX10" fmla="*/ 8928188 w 10630864"/>
              <a:gd name="connsiteY10" fmla="*/ 3849611 h 4991475"/>
              <a:gd name="connsiteX11" fmla="*/ 8928188 w 10630864"/>
              <a:gd name="connsiteY11" fmla="*/ 4991475 h 4991475"/>
              <a:gd name="connsiteX12" fmla="*/ 0 w 10630864"/>
              <a:gd name="connsiteY12" fmla="*/ 4991475 h 4991475"/>
              <a:gd name="connsiteX13" fmla="*/ 0 w 10630864"/>
              <a:gd name="connsiteY13" fmla="*/ 2935582 h 4991475"/>
              <a:gd name="connsiteX14" fmla="*/ 18568 w 10630864"/>
              <a:gd name="connsiteY14" fmla="*/ 2935582 h 4991475"/>
              <a:gd name="connsiteX15" fmla="*/ 18568 w 10630864"/>
              <a:gd name="connsiteY15" fmla="*/ 2353273 h 4991475"/>
              <a:gd name="connsiteX16" fmla="*/ 0 w 10630864"/>
              <a:gd name="connsiteY16" fmla="*/ 2353273 h 4991475"/>
              <a:gd name="connsiteX17" fmla="*/ 0 w 10630864"/>
              <a:gd name="connsiteY17" fmla="*/ 536028 h 4991475"/>
              <a:gd name="connsiteX0" fmla="*/ 669860 w 10630864"/>
              <a:gd name="connsiteY0" fmla="*/ 2353273 h 4991475"/>
              <a:gd name="connsiteX1" fmla="*/ 669860 w 10630864"/>
              <a:gd name="connsiteY1" fmla="*/ 2935582 h 4991475"/>
              <a:gd name="connsiteX2" fmla="*/ 5186695 w 10630864"/>
              <a:gd name="connsiteY2" fmla="*/ 2935582 h 4991475"/>
              <a:gd name="connsiteX3" fmla="*/ 5186695 w 10630864"/>
              <a:gd name="connsiteY3" fmla="*/ 2353273 h 4991475"/>
              <a:gd name="connsiteX4" fmla="*/ 669860 w 10630864"/>
              <a:gd name="connsiteY4" fmla="*/ 2353273 h 4991475"/>
              <a:gd name="connsiteX5" fmla="*/ 0 w 10630864"/>
              <a:gd name="connsiteY5" fmla="*/ 536028 h 4991475"/>
              <a:gd name="connsiteX6" fmla="*/ 10630864 w 10630864"/>
              <a:gd name="connsiteY6" fmla="*/ 0 h 4991475"/>
              <a:gd name="connsiteX7" fmla="*/ 8928188 w 10630864"/>
              <a:gd name="connsiteY7" fmla="*/ 2353273 h 4991475"/>
              <a:gd name="connsiteX8" fmla="*/ 8928188 w 10630864"/>
              <a:gd name="connsiteY8" fmla="*/ 2935582 h 4991475"/>
              <a:gd name="connsiteX9" fmla="*/ 8928188 w 10630864"/>
              <a:gd name="connsiteY9" fmla="*/ 3849611 h 4991475"/>
              <a:gd name="connsiteX10" fmla="*/ 8928188 w 10630864"/>
              <a:gd name="connsiteY10" fmla="*/ 4991475 h 4991475"/>
              <a:gd name="connsiteX11" fmla="*/ 0 w 10630864"/>
              <a:gd name="connsiteY11" fmla="*/ 4991475 h 4991475"/>
              <a:gd name="connsiteX12" fmla="*/ 0 w 10630864"/>
              <a:gd name="connsiteY12" fmla="*/ 2935582 h 4991475"/>
              <a:gd name="connsiteX13" fmla="*/ 18568 w 10630864"/>
              <a:gd name="connsiteY13" fmla="*/ 2935582 h 4991475"/>
              <a:gd name="connsiteX14" fmla="*/ 18568 w 10630864"/>
              <a:gd name="connsiteY14" fmla="*/ 2353273 h 4991475"/>
              <a:gd name="connsiteX15" fmla="*/ 0 w 10630864"/>
              <a:gd name="connsiteY15" fmla="*/ 2353273 h 4991475"/>
              <a:gd name="connsiteX16" fmla="*/ 0 w 10630864"/>
              <a:gd name="connsiteY16" fmla="*/ 536028 h 4991475"/>
              <a:gd name="connsiteX0" fmla="*/ 669860 w 10630864"/>
              <a:gd name="connsiteY0" fmla="*/ 2353273 h 4991475"/>
              <a:gd name="connsiteX1" fmla="*/ 669860 w 10630864"/>
              <a:gd name="connsiteY1" fmla="*/ 2935582 h 4991475"/>
              <a:gd name="connsiteX2" fmla="*/ 5186695 w 10630864"/>
              <a:gd name="connsiteY2" fmla="*/ 2935582 h 4991475"/>
              <a:gd name="connsiteX3" fmla="*/ 5186695 w 10630864"/>
              <a:gd name="connsiteY3" fmla="*/ 2353273 h 4991475"/>
              <a:gd name="connsiteX4" fmla="*/ 669860 w 10630864"/>
              <a:gd name="connsiteY4" fmla="*/ 2353273 h 4991475"/>
              <a:gd name="connsiteX5" fmla="*/ 0 w 10630864"/>
              <a:gd name="connsiteY5" fmla="*/ 536028 h 4991475"/>
              <a:gd name="connsiteX6" fmla="*/ 10630864 w 10630864"/>
              <a:gd name="connsiteY6" fmla="*/ 0 h 4991475"/>
              <a:gd name="connsiteX7" fmla="*/ 8928188 w 10630864"/>
              <a:gd name="connsiteY7" fmla="*/ 2935582 h 4991475"/>
              <a:gd name="connsiteX8" fmla="*/ 8928188 w 10630864"/>
              <a:gd name="connsiteY8" fmla="*/ 3849611 h 4991475"/>
              <a:gd name="connsiteX9" fmla="*/ 8928188 w 10630864"/>
              <a:gd name="connsiteY9" fmla="*/ 4991475 h 4991475"/>
              <a:gd name="connsiteX10" fmla="*/ 0 w 10630864"/>
              <a:gd name="connsiteY10" fmla="*/ 4991475 h 4991475"/>
              <a:gd name="connsiteX11" fmla="*/ 0 w 10630864"/>
              <a:gd name="connsiteY11" fmla="*/ 2935582 h 4991475"/>
              <a:gd name="connsiteX12" fmla="*/ 18568 w 10630864"/>
              <a:gd name="connsiteY12" fmla="*/ 2935582 h 4991475"/>
              <a:gd name="connsiteX13" fmla="*/ 18568 w 10630864"/>
              <a:gd name="connsiteY13" fmla="*/ 2353273 h 4991475"/>
              <a:gd name="connsiteX14" fmla="*/ 0 w 10630864"/>
              <a:gd name="connsiteY14" fmla="*/ 2353273 h 4991475"/>
              <a:gd name="connsiteX15" fmla="*/ 0 w 10630864"/>
              <a:gd name="connsiteY15" fmla="*/ 536028 h 4991475"/>
              <a:gd name="connsiteX0" fmla="*/ 669860 w 10630864"/>
              <a:gd name="connsiteY0" fmla="*/ 2353273 h 4991475"/>
              <a:gd name="connsiteX1" fmla="*/ 669860 w 10630864"/>
              <a:gd name="connsiteY1" fmla="*/ 2935582 h 4991475"/>
              <a:gd name="connsiteX2" fmla="*/ 5186695 w 10630864"/>
              <a:gd name="connsiteY2" fmla="*/ 2935582 h 4991475"/>
              <a:gd name="connsiteX3" fmla="*/ 5186695 w 10630864"/>
              <a:gd name="connsiteY3" fmla="*/ 2353273 h 4991475"/>
              <a:gd name="connsiteX4" fmla="*/ 669860 w 10630864"/>
              <a:gd name="connsiteY4" fmla="*/ 2353273 h 4991475"/>
              <a:gd name="connsiteX5" fmla="*/ 0 w 10630864"/>
              <a:gd name="connsiteY5" fmla="*/ 536028 h 4991475"/>
              <a:gd name="connsiteX6" fmla="*/ 10630864 w 10630864"/>
              <a:gd name="connsiteY6" fmla="*/ 0 h 4991475"/>
              <a:gd name="connsiteX7" fmla="*/ 8928188 w 10630864"/>
              <a:gd name="connsiteY7" fmla="*/ 3849611 h 4991475"/>
              <a:gd name="connsiteX8" fmla="*/ 8928188 w 10630864"/>
              <a:gd name="connsiteY8" fmla="*/ 4991475 h 4991475"/>
              <a:gd name="connsiteX9" fmla="*/ 0 w 10630864"/>
              <a:gd name="connsiteY9" fmla="*/ 4991475 h 4991475"/>
              <a:gd name="connsiteX10" fmla="*/ 0 w 10630864"/>
              <a:gd name="connsiteY10" fmla="*/ 2935582 h 4991475"/>
              <a:gd name="connsiteX11" fmla="*/ 18568 w 10630864"/>
              <a:gd name="connsiteY11" fmla="*/ 2935582 h 4991475"/>
              <a:gd name="connsiteX12" fmla="*/ 18568 w 10630864"/>
              <a:gd name="connsiteY12" fmla="*/ 2353273 h 4991475"/>
              <a:gd name="connsiteX13" fmla="*/ 0 w 10630864"/>
              <a:gd name="connsiteY13" fmla="*/ 2353273 h 4991475"/>
              <a:gd name="connsiteX14" fmla="*/ 0 w 10630864"/>
              <a:gd name="connsiteY14" fmla="*/ 536028 h 4991475"/>
              <a:gd name="connsiteX0" fmla="*/ 669860 w 10630864"/>
              <a:gd name="connsiteY0" fmla="*/ 2353273 h 4991475"/>
              <a:gd name="connsiteX1" fmla="*/ 669860 w 10630864"/>
              <a:gd name="connsiteY1" fmla="*/ 2935582 h 4991475"/>
              <a:gd name="connsiteX2" fmla="*/ 5186695 w 10630864"/>
              <a:gd name="connsiteY2" fmla="*/ 2935582 h 4991475"/>
              <a:gd name="connsiteX3" fmla="*/ 5186695 w 10630864"/>
              <a:gd name="connsiteY3" fmla="*/ 2353273 h 4991475"/>
              <a:gd name="connsiteX4" fmla="*/ 669860 w 10630864"/>
              <a:gd name="connsiteY4" fmla="*/ 2353273 h 4991475"/>
              <a:gd name="connsiteX5" fmla="*/ 0 w 10630864"/>
              <a:gd name="connsiteY5" fmla="*/ 536028 h 4991475"/>
              <a:gd name="connsiteX6" fmla="*/ 10630864 w 10630864"/>
              <a:gd name="connsiteY6" fmla="*/ 0 h 4991475"/>
              <a:gd name="connsiteX7" fmla="*/ 8928188 w 10630864"/>
              <a:gd name="connsiteY7" fmla="*/ 4991475 h 4991475"/>
              <a:gd name="connsiteX8" fmla="*/ 0 w 10630864"/>
              <a:gd name="connsiteY8" fmla="*/ 4991475 h 4991475"/>
              <a:gd name="connsiteX9" fmla="*/ 0 w 10630864"/>
              <a:gd name="connsiteY9" fmla="*/ 2935582 h 4991475"/>
              <a:gd name="connsiteX10" fmla="*/ 18568 w 10630864"/>
              <a:gd name="connsiteY10" fmla="*/ 2935582 h 4991475"/>
              <a:gd name="connsiteX11" fmla="*/ 18568 w 10630864"/>
              <a:gd name="connsiteY11" fmla="*/ 2353273 h 4991475"/>
              <a:gd name="connsiteX12" fmla="*/ 0 w 10630864"/>
              <a:gd name="connsiteY12" fmla="*/ 2353273 h 4991475"/>
              <a:gd name="connsiteX13" fmla="*/ 0 w 10630864"/>
              <a:gd name="connsiteY13" fmla="*/ 536028 h 4991475"/>
              <a:gd name="connsiteX0" fmla="*/ 669860 w 10646629"/>
              <a:gd name="connsiteY0" fmla="*/ 2353273 h 5763985"/>
              <a:gd name="connsiteX1" fmla="*/ 669860 w 10646629"/>
              <a:gd name="connsiteY1" fmla="*/ 2935582 h 5763985"/>
              <a:gd name="connsiteX2" fmla="*/ 5186695 w 10646629"/>
              <a:gd name="connsiteY2" fmla="*/ 2935582 h 5763985"/>
              <a:gd name="connsiteX3" fmla="*/ 5186695 w 10646629"/>
              <a:gd name="connsiteY3" fmla="*/ 2353273 h 5763985"/>
              <a:gd name="connsiteX4" fmla="*/ 669860 w 10646629"/>
              <a:gd name="connsiteY4" fmla="*/ 2353273 h 5763985"/>
              <a:gd name="connsiteX5" fmla="*/ 0 w 10646629"/>
              <a:gd name="connsiteY5" fmla="*/ 536028 h 5763985"/>
              <a:gd name="connsiteX6" fmla="*/ 10630864 w 10646629"/>
              <a:gd name="connsiteY6" fmla="*/ 0 h 5763985"/>
              <a:gd name="connsiteX7" fmla="*/ 10646629 w 10646629"/>
              <a:gd name="connsiteY7" fmla="*/ 5763985 h 5763985"/>
              <a:gd name="connsiteX8" fmla="*/ 0 w 10646629"/>
              <a:gd name="connsiteY8" fmla="*/ 4991475 h 5763985"/>
              <a:gd name="connsiteX9" fmla="*/ 0 w 10646629"/>
              <a:gd name="connsiteY9" fmla="*/ 2935582 h 5763985"/>
              <a:gd name="connsiteX10" fmla="*/ 18568 w 10646629"/>
              <a:gd name="connsiteY10" fmla="*/ 2935582 h 5763985"/>
              <a:gd name="connsiteX11" fmla="*/ 18568 w 10646629"/>
              <a:gd name="connsiteY11" fmla="*/ 2353273 h 5763985"/>
              <a:gd name="connsiteX12" fmla="*/ 0 w 10646629"/>
              <a:gd name="connsiteY12" fmla="*/ 2353273 h 5763985"/>
              <a:gd name="connsiteX13" fmla="*/ 0 w 10646629"/>
              <a:gd name="connsiteY13" fmla="*/ 536028 h 5763985"/>
              <a:gd name="connsiteX0" fmla="*/ 2388302 w 12365071"/>
              <a:gd name="connsiteY0" fmla="*/ 2353273 h 5811282"/>
              <a:gd name="connsiteX1" fmla="*/ 2388302 w 12365071"/>
              <a:gd name="connsiteY1" fmla="*/ 2935582 h 5811282"/>
              <a:gd name="connsiteX2" fmla="*/ 6905137 w 12365071"/>
              <a:gd name="connsiteY2" fmla="*/ 2935582 h 5811282"/>
              <a:gd name="connsiteX3" fmla="*/ 6905137 w 12365071"/>
              <a:gd name="connsiteY3" fmla="*/ 2353273 h 5811282"/>
              <a:gd name="connsiteX4" fmla="*/ 2388302 w 12365071"/>
              <a:gd name="connsiteY4" fmla="*/ 2353273 h 5811282"/>
              <a:gd name="connsiteX5" fmla="*/ 1718442 w 12365071"/>
              <a:gd name="connsiteY5" fmla="*/ 536028 h 5811282"/>
              <a:gd name="connsiteX6" fmla="*/ 12349306 w 12365071"/>
              <a:gd name="connsiteY6" fmla="*/ 0 h 5811282"/>
              <a:gd name="connsiteX7" fmla="*/ 12365071 w 12365071"/>
              <a:gd name="connsiteY7" fmla="*/ 5763985 h 5811282"/>
              <a:gd name="connsiteX8" fmla="*/ 0 w 12365071"/>
              <a:gd name="connsiteY8" fmla="*/ 5811282 h 5811282"/>
              <a:gd name="connsiteX9" fmla="*/ 1718442 w 12365071"/>
              <a:gd name="connsiteY9" fmla="*/ 2935582 h 5811282"/>
              <a:gd name="connsiteX10" fmla="*/ 1737010 w 12365071"/>
              <a:gd name="connsiteY10" fmla="*/ 2935582 h 5811282"/>
              <a:gd name="connsiteX11" fmla="*/ 1737010 w 12365071"/>
              <a:gd name="connsiteY11" fmla="*/ 2353273 h 5811282"/>
              <a:gd name="connsiteX12" fmla="*/ 1718442 w 12365071"/>
              <a:gd name="connsiteY12" fmla="*/ 2353273 h 5811282"/>
              <a:gd name="connsiteX13" fmla="*/ 1718442 w 12365071"/>
              <a:gd name="connsiteY13" fmla="*/ 536028 h 5811282"/>
              <a:gd name="connsiteX0" fmla="*/ 2388302 w 12365071"/>
              <a:gd name="connsiteY0" fmla="*/ 2353273 h 5811282"/>
              <a:gd name="connsiteX1" fmla="*/ 2388302 w 12365071"/>
              <a:gd name="connsiteY1" fmla="*/ 2935582 h 5811282"/>
              <a:gd name="connsiteX2" fmla="*/ 6905137 w 12365071"/>
              <a:gd name="connsiteY2" fmla="*/ 2935582 h 5811282"/>
              <a:gd name="connsiteX3" fmla="*/ 6905137 w 12365071"/>
              <a:gd name="connsiteY3" fmla="*/ 2353273 h 5811282"/>
              <a:gd name="connsiteX4" fmla="*/ 2388302 w 12365071"/>
              <a:gd name="connsiteY4" fmla="*/ 2353273 h 5811282"/>
              <a:gd name="connsiteX5" fmla="*/ 1718442 w 12365071"/>
              <a:gd name="connsiteY5" fmla="*/ 536028 h 5811282"/>
              <a:gd name="connsiteX6" fmla="*/ 12349306 w 12365071"/>
              <a:gd name="connsiteY6" fmla="*/ 0 h 5811282"/>
              <a:gd name="connsiteX7" fmla="*/ 12365071 w 12365071"/>
              <a:gd name="connsiteY7" fmla="*/ 5763985 h 5811282"/>
              <a:gd name="connsiteX8" fmla="*/ 0 w 12365071"/>
              <a:gd name="connsiteY8" fmla="*/ 5811282 h 5811282"/>
              <a:gd name="connsiteX9" fmla="*/ 1718442 w 12365071"/>
              <a:gd name="connsiteY9" fmla="*/ 2935582 h 5811282"/>
              <a:gd name="connsiteX10" fmla="*/ 1737010 w 12365071"/>
              <a:gd name="connsiteY10" fmla="*/ 2353273 h 5811282"/>
              <a:gd name="connsiteX11" fmla="*/ 1718442 w 12365071"/>
              <a:gd name="connsiteY11" fmla="*/ 2353273 h 5811282"/>
              <a:gd name="connsiteX12" fmla="*/ 1718442 w 12365071"/>
              <a:gd name="connsiteY12" fmla="*/ 536028 h 5811282"/>
              <a:gd name="connsiteX0" fmla="*/ 2388302 w 12365071"/>
              <a:gd name="connsiteY0" fmla="*/ 2353273 h 5811282"/>
              <a:gd name="connsiteX1" fmla="*/ 2388302 w 12365071"/>
              <a:gd name="connsiteY1" fmla="*/ 2935582 h 5811282"/>
              <a:gd name="connsiteX2" fmla="*/ 6905137 w 12365071"/>
              <a:gd name="connsiteY2" fmla="*/ 2935582 h 5811282"/>
              <a:gd name="connsiteX3" fmla="*/ 6905137 w 12365071"/>
              <a:gd name="connsiteY3" fmla="*/ 2353273 h 5811282"/>
              <a:gd name="connsiteX4" fmla="*/ 2388302 w 12365071"/>
              <a:gd name="connsiteY4" fmla="*/ 2353273 h 5811282"/>
              <a:gd name="connsiteX5" fmla="*/ 1718442 w 12365071"/>
              <a:gd name="connsiteY5" fmla="*/ 536028 h 5811282"/>
              <a:gd name="connsiteX6" fmla="*/ 12349306 w 12365071"/>
              <a:gd name="connsiteY6" fmla="*/ 0 h 5811282"/>
              <a:gd name="connsiteX7" fmla="*/ 12365071 w 12365071"/>
              <a:gd name="connsiteY7" fmla="*/ 5763985 h 5811282"/>
              <a:gd name="connsiteX8" fmla="*/ 0 w 12365071"/>
              <a:gd name="connsiteY8" fmla="*/ 5811282 h 5811282"/>
              <a:gd name="connsiteX9" fmla="*/ 1718442 w 12365071"/>
              <a:gd name="connsiteY9" fmla="*/ 2935582 h 5811282"/>
              <a:gd name="connsiteX10" fmla="*/ 1737010 w 12365071"/>
              <a:gd name="connsiteY10" fmla="*/ 2353273 h 5811282"/>
              <a:gd name="connsiteX11" fmla="*/ 1718442 w 12365071"/>
              <a:gd name="connsiteY11" fmla="*/ 536028 h 5811282"/>
              <a:gd name="connsiteX0" fmla="*/ 2388302 w 12365071"/>
              <a:gd name="connsiteY0" fmla="*/ 2353273 h 5811282"/>
              <a:gd name="connsiteX1" fmla="*/ 2388302 w 12365071"/>
              <a:gd name="connsiteY1" fmla="*/ 2935582 h 5811282"/>
              <a:gd name="connsiteX2" fmla="*/ 6905137 w 12365071"/>
              <a:gd name="connsiteY2" fmla="*/ 2935582 h 5811282"/>
              <a:gd name="connsiteX3" fmla="*/ 6905137 w 12365071"/>
              <a:gd name="connsiteY3" fmla="*/ 2353273 h 5811282"/>
              <a:gd name="connsiteX4" fmla="*/ 2388302 w 12365071"/>
              <a:gd name="connsiteY4" fmla="*/ 2353273 h 5811282"/>
              <a:gd name="connsiteX5" fmla="*/ 1718442 w 12365071"/>
              <a:gd name="connsiteY5" fmla="*/ 536028 h 5811282"/>
              <a:gd name="connsiteX6" fmla="*/ 12349306 w 12365071"/>
              <a:gd name="connsiteY6" fmla="*/ 0 h 5811282"/>
              <a:gd name="connsiteX7" fmla="*/ 12365071 w 12365071"/>
              <a:gd name="connsiteY7" fmla="*/ 5763985 h 5811282"/>
              <a:gd name="connsiteX8" fmla="*/ 0 w 12365071"/>
              <a:gd name="connsiteY8" fmla="*/ 5811282 h 5811282"/>
              <a:gd name="connsiteX9" fmla="*/ 1737010 w 12365071"/>
              <a:gd name="connsiteY9" fmla="*/ 2353273 h 5811282"/>
              <a:gd name="connsiteX10" fmla="*/ 1718442 w 12365071"/>
              <a:gd name="connsiteY10" fmla="*/ 536028 h 5811282"/>
              <a:gd name="connsiteX0" fmla="*/ 2388302 w 12365071"/>
              <a:gd name="connsiteY0" fmla="*/ 2353273 h 5811282"/>
              <a:gd name="connsiteX1" fmla="*/ 2388302 w 12365071"/>
              <a:gd name="connsiteY1" fmla="*/ 2935582 h 5811282"/>
              <a:gd name="connsiteX2" fmla="*/ 6905137 w 12365071"/>
              <a:gd name="connsiteY2" fmla="*/ 2935582 h 5811282"/>
              <a:gd name="connsiteX3" fmla="*/ 6905137 w 12365071"/>
              <a:gd name="connsiteY3" fmla="*/ 2353273 h 5811282"/>
              <a:gd name="connsiteX4" fmla="*/ 2388302 w 12365071"/>
              <a:gd name="connsiteY4" fmla="*/ 2353273 h 5811282"/>
              <a:gd name="connsiteX5" fmla="*/ 1718442 w 12365071"/>
              <a:gd name="connsiteY5" fmla="*/ 536028 h 5811282"/>
              <a:gd name="connsiteX6" fmla="*/ 12349306 w 12365071"/>
              <a:gd name="connsiteY6" fmla="*/ 0 h 5811282"/>
              <a:gd name="connsiteX7" fmla="*/ 12365071 w 12365071"/>
              <a:gd name="connsiteY7" fmla="*/ 5763985 h 5811282"/>
              <a:gd name="connsiteX8" fmla="*/ 0 w 12365071"/>
              <a:gd name="connsiteY8" fmla="*/ 5811282 h 5811282"/>
              <a:gd name="connsiteX9" fmla="*/ 1718442 w 12365071"/>
              <a:gd name="connsiteY9" fmla="*/ 536028 h 5811282"/>
              <a:gd name="connsiteX0" fmla="*/ 2388302 w 12365071"/>
              <a:gd name="connsiteY0" fmla="*/ 2353273 h 5811282"/>
              <a:gd name="connsiteX1" fmla="*/ 2388302 w 12365071"/>
              <a:gd name="connsiteY1" fmla="*/ 2935582 h 5811282"/>
              <a:gd name="connsiteX2" fmla="*/ 6905137 w 12365071"/>
              <a:gd name="connsiteY2" fmla="*/ 2935582 h 5811282"/>
              <a:gd name="connsiteX3" fmla="*/ 6905137 w 12365071"/>
              <a:gd name="connsiteY3" fmla="*/ 2353273 h 5811282"/>
              <a:gd name="connsiteX4" fmla="*/ 2388302 w 12365071"/>
              <a:gd name="connsiteY4" fmla="*/ 2353273 h 5811282"/>
              <a:gd name="connsiteX5" fmla="*/ 31531 w 12365071"/>
              <a:gd name="connsiteY5" fmla="*/ 0 h 5811282"/>
              <a:gd name="connsiteX6" fmla="*/ 12349306 w 12365071"/>
              <a:gd name="connsiteY6" fmla="*/ 0 h 5811282"/>
              <a:gd name="connsiteX7" fmla="*/ 12365071 w 12365071"/>
              <a:gd name="connsiteY7" fmla="*/ 5763985 h 5811282"/>
              <a:gd name="connsiteX8" fmla="*/ 0 w 12365071"/>
              <a:gd name="connsiteY8" fmla="*/ 5811282 h 5811282"/>
              <a:gd name="connsiteX9" fmla="*/ 31531 w 12365071"/>
              <a:gd name="connsiteY9" fmla="*/ 0 h 5811282"/>
              <a:gd name="connsiteX0" fmla="*/ 2356771 w 12333540"/>
              <a:gd name="connsiteY0" fmla="*/ 2353273 h 5827048"/>
              <a:gd name="connsiteX1" fmla="*/ 2356771 w 12333540"/>
              <a:gd name="connsiteY1" fmla="*/ 2935582 h 5827048"/>
              <a:gd name="connsiteX2" fmla="*/ 6873606 w 12333540"/>
              <a:gd name="connsiteY2" fmla="*/ 2935582 h 5827048"/>
              <a:gd name="connsiteX3" fmla="*/ 6873606 w 12333540"/>
              <a:gd name="connsiteY3" fmla="*/ 2353273 h 5827048"/>
              <a:gd name="connsiteX4" fmla="*/ 2356771 w 12333540"/>
              <a:gd name="connsiteY4" fmla="*/ 2353273 h 5827048"/>
              <a:gd name="connsiteX5" fmla="*/ 0 w 12333540"/>
              <a:gd name="connsiteY5" fmla="*/ 0 h 5827048"/>
              <a:gd name="connsiteX6" fmla="*/ 12317775 w 12333540"/>
              <a:gd name="connsiteY6" fmla="*/ 0 h 5827048"/>
              <a:gd name="connsiteX7" fmla="*/ 12333540 w 12333540"/>
              <a:gd name="connsiteY7" fmla="*/ 5763985 h 5827048"/>
              <a:gd name="connsiteX8" fmla="*/ 0 w 12333540"/>
              <a:gd name="connsiteY8" fmla="*/ 5827048 h 5827048"/>
              <a:gd name="connsiteX9" fmla="*/ 0 w 12333540"/>
              <a:gd name="connsiteY9" fmla="*/ 0 h 5827048"/>
              <a:gd name="connsiteX0" fmla="*/ 2356771 w 12317775"/>
              <a:gd name="connsiteY0" fmla="*/ 2353273 h 5827048"/>
              <a:gd name="connsiteX1" fmla="*/ 2356771 w 12317775"/>
              <a:gd name="connsiteY1" fmla="*/ 2935582 h 5827048"/>
              <a:gd name="connsiteX2" fmla="*/ 6873606 w 12317775"/>
              <a:gd name="connsiteY2" fmla="*/ 2935582 h 5827048"/>
              <a:gd name="connsiteX3" fmla="*/ 6873606 w 12317775"/>
              <a:gd name="connsiteY3" fmla="*/ 2353273 h 5827048"/>
              <a:gd name="connsiteX4" fmla="*/ 2356771 w 12317775"/>
              <a:gd name="connsiteY4" fmla="*/ 2353273 h 5827048"/>
              <a:gd name="connsiteX5" fmla="*/ 0 w 12317775"/>
              <a:gd name="connsiteY5" fmla="*/ 0 h 5827048"/>
              <a:gd name="connsiteX6" fmla="*/ 12317775 w 12317775"/>
              <a:gd name="connsiteY6" fmla="*/ 0 h 5827048"/>
              <a:gd name="connsiteX7" fmla="*/ 12286244 w 12317775"/>
              <a:gd name="connsiteY7" fmla="*/ 5811282 h 5827048"/>
              <a:gd name="connsiteX8" fmla="*/ 0 w 12317775"/>
              <a:gd name="connsiteY8" fmla="*/ 5827048 h 5827048"/>
              <a:gd name="connsiteX9" fmla="*/ 0 w 12317775"/>
              <a:gd name="connsiteY9" fmla="*/ 0 h 5827048"/>
              <a:gd name="connsiteX0" fmla="*/ 2356771 w 12286244"/>
              <a:gd name="connsiteY0" fmla="*/ 2353273 h 5827048"/>
              <a:gd name="connsiteX1" fmla="*/ 2356771 w 12286244"/>
              <a:gd name="connsiteY1" fmla="*/ 2935582 h 5827048"/>
              <a:gd name="connsiteX2" fmla="*/ 6873606 w 12286244"/>
              <a:gd name="connsiteY2" fmla="*/ 2935582 h 5827048"/>
              <a:gd name="connsiteX3" fmla="*/ 6873606 w 12286244"/>
              <a:gd name="connsiteY3" fmla="*/ 2353273 h 5827048"/>
              <a:gd name="connsiteX4" fmla="*/ 2356771 w 12286244"/>
              <a:gd name="connsiteY4" fmla="*/ 2353273 h 5827048"/>
              <a:gd name="connsiteX5" fmla="*/ 0 w 12286244"/>
              <a:gd name="connsiteY5" fmla="*/ 0 h 5827048"/>
              <a:gd name="connsiteX6" fmla="*/ 12286244 w 12286244"/>
              <a:gd name="connsiteY6" fmla="*/ 15765 h 5827048"/>
              <a:gd name="connsiteX7" fmla="*/ 12286244 w 12286244"/>
              <a:gd name="connsiteY7" fmla="*/ 5811282 h 5827048"/>
              <a:gd name="connsiteX8" fmla="*/ 0 w 12286244"/>
              <a:gd name="connsiteY8" fmla="*/ 5827048 h 5827048"/>
              <a:gd name="connsiteX9" fmla="*/ 0 w 12286244"/>
              <a:gd name="connsiteY9" fmla="*/ 0 h 5827048"/>
              <a:gd name="connsiteX0" fmla="*/ 2356771 w 12286244"/>
              <a:gd name="connsiteY0" fmla="*/ 2369039 h 5842814"/>
              <a:gd name="connsiteX1" fmla="*/ 2356771 w 12286244"/>
              <a:gd name="connsiteY1" fmla="*/ 2951348 h 5842814"/>
              <a:gd name="connsiteX2" fmla="*/ 6873606 w 12286244"/>
              <a:gd name="connsiteY2" fmla="*/ 2951348 h 5842814"/>
              <a:gd name="connsiteX3" fmla="*/ 6873606 w 12286244"/>
              <a:gd name="connsiteY3" fmla="*/ 2369039 h 5842814"/>
              <a:gd name="connsiteX4" fmla="*/ 2356771 w 12286244"/>
              <a:gd name="connsiteY4" fmla="*/ 2369039 h 5842814"/>
              <a:gd name="connsiteX5" fmla="*/ 31531 w 12286244"/>
              <a:gd name="connsiteY5" fmla="*/ 0 h 5842814"/>
              <a:gd name="connsiteX6" fmla="*/ 12286244 w 12286244"/>
              <a:gd name="connsiteY6" fmla="*/ 31531 h 5842814"/>
              <a:gd name="connsiteX7" fmla="*/ 12286244 w 12286244"/>
              <a:gd name="connsiteY7" fmla="*/ 5827048 h 5842814"/>
              <a:gd name="connsiteX8" fmla="*/ 0 w 12286244"/>
              <a:gd name="connsiteY8" fmla="*/ 5842814 h 5842814"/>
              <a:gd name="connsiteX9" fmla="*/ 31531 w 12286244"/>
              <a:gd name="connsiteY9" fmla="*/ 0 h 5842814"/>
              <a:gd name="connsiteX0" fmla="*/ 2341005 w 12270478"/>
              <a:gd name="connsiteY0" fmla="*/ 2369039 h 5858579"/>
              <a:gd name="connsiteX1" fmla="*/ 2341005 w 12270478"/>
              <a:gd name="connsiteY1" fmla="*/ 2951348 h 5858579"/>
              <a:gd name="connsiteX2" fmla="*/ 6857840 w 12270478"/>
              <a:gd name="connsiteY2" fmla="*/ 2951348 h 5858579"/>
              <a:gd name="connsiteX3" fmla="*/ 6857840 w 12270478"/>
              <a:gd name="connsiteY3" fmla="*/ 2369039 h 5858579"/>
              <a:gd name="connsiteX4" fmla="*/ 2341005 w 12270478"/>
              <a:gd name="connsiteY4" fmla="*/ 2369039 h 5858579"/>
              <a:gd name="connsiteX5" fmla="*/ 15765 w 12270478"/>
              <a:gd name="connsiteY5" fmla="*/ 0 h 5858579"/>
              <a:gd name="connsiteX6" fmla="*/ 12270478 w 12270478"/>
              <a:gd name="connsiteY6" fmla="*/ 31531 h 5858579"/>
              <a:gd name="connsiteX7" fmla="*/ 12270478 w 12270478"/>
              <a:gd name="connsiteY7" fmla="*/ 5827048 h 5858579"/>
              <a:gd name="connsiteX8" fmla="*/ 0 w 12270478"/>
              <a:gd name="connsiteY8" fmla="*/ 5858579 h 5858579"/>
              <a:gd name="connsiteX9" fmla="*/ 15765 w 12270478"/>
              <a:gd name="connsiteY9" fmla="*/ 0 h 5858579"/>
              <a:gd name="connsiteX0" fmla="*/ 2341005 w 12270478"/>
              <a:gd name="connsiteY0" fmla="*/ 2369039 h 5858579"/>
              <a:gd name="connsiteX1" fmla="*/ 2341005 w 12270478"/>
              <a:gd name="connsiteY1" fmla="*/ 2951348 h 5858579"/>
              <a:gd name="connsiteX2" fmla="*/ 6857840 w 12270478"/>
              <a:gd name="connsiteY2" fmla="*/ 2369039 h 5858579"/>
              <a:gd name="connsiteX3" fmla="*/ 2341005 w 12270478"/>
              <a:gd name="connsiteY3" fmla="*/ 2369039 h 5858579"/>
              <a:gd name="connsiteX4" fmla="*/ 15765 w 12270478"/>
              <a:gd name="connsiteY4" fmla="*/ 0 h 5858579"/>
              <a:gd name="connsiteX5" fmla="*/ 12270478 w 12270478"/>
              <a:gd name="connsiteY5" fmla="*/ 31531 h 5858579"/>
              <a:gd name="connsiteX6" fmla="*/ 12270478 w 12270478"/>
              <a:gd name="connsiteY6" fmla="*/ 5827048 h 5858579"/>
              <a:gd name="connsiteX7" fmla="*/ 0 w 12270478"/>
              <a:gd name="connsiteY7" fmla="*/ 5858579 h 5858579"/>
              <a:gd name="connsiteX8" fmla="*/ 15765 w 12270478"/>
              <a:gd name="connsiteY8" fmla="*/ 0 h 5858579"/>
              <a:gd name="connsiteX0" fmla="*/ 2341005 w 12270478"/>
              <a:gd name="connsiteY0" fmla="*/ 2369039 h 5858579"/>
              <a:gd name="connsiteX1" fmla="*/ 2341005 w 12270478"/>
              <a:gd name="connsiteY1" fmla="*/ 2951348 h 5858579"/>
              <a:gd name="connsiteX2" fmla="*/ 2341005 w 12270478"/>
              <a:gd name="connsiteY2" fmla="*/ 2369039 h 5858579"/>
              <a:gd name="connsiteX3" fmla="*/ 15765 w 12270478"/>
              <a:gd name="connsiteY3" fmla="*/ 0 h 5858579"/>
              <a:gd name="connsiteX4" fmla="*/ 12270478 w 12270478"/>
              <a:gd name="connsiteY4" fmla="*/ 31531 h 5858579"/>
              <a:gd name="connsiteX5" fmla="*/ 12270478 w 12270478"/>
              <a:gd name="connsiteY5" fmla="*/ 5827048 h 5858579"/>
              <a:gd name="connsiteX6" fmla="*/ 0 w 12270478"/>
              <a:gd name="connsiteY6" fmla="*/ 5858579 h 5858579"/>
              <a:gd name="connsiteX7" fmla="*/ 15765 w 12270478"/>
              <a:gd name="connsiteY7" fmla="*/ 0 h 5858579"/>
              <a:gd name="connsiteX0" fmla="*/ 15765 w 12270478"/>
              <a:gd name="connsiteY0" fmla="*/ 0 h 5858579"/>
              <a:gd name="connsiteX1" fmla="*/ 12270478 w 12270478"/>
              <a:gd name="connsiteY1" fmla="*/ 31531 h 5858579"/>
              <a:gd name="connsiteX2" fmla="*/ 12270478 w 12270478"/>
              <a:gd name="connsiteY2" fmla="*/ 5827048 h 5858579"/>
              <a:gd name="connsiteX3" fmla="*/ 0 w 12270478"/>
              <a:gd name="connsiteY3" fmla="*/ 5858579 h 5858579"/>
              <a:gd name="connsiteX4" fmla="*/ 15765 w 12270478"/>
              <a:gd name="connsiteY4" fmla="*/ 0 h 58585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70478" h="5858579">
                <a:moveTo>
                  <a:pt x="15765" y="0"/>
                </a:moveTo>
                <a:lnTo>
                  <a:pt x="12270478" y="31531"/>
                </a:lnTo>
                <a:lnTo>
                  <a:pt x="12270478" y="5827048"/>
                </a:lnTo>
                <a:lnTo>
                  <a:pt x="0" y="5858579"/>
                </a:lnTo>
                <a:lnTo>
                  <a:pt x="15765" y="0"/>
                </a:lnTo>
                <a:close/>
              </a:path>
            </a:pathLst>
          </a:custGeom>
          <a:solidFill>
            <a:schemeClr val="tx1">
              <a:lumMod val="85000"/>
              <a:lumOff val="1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1B1AC62-6CFF-6D4C-AA63-EDE8D6AAC991}"/>
              </a:ext>
            </a:extLst>
          </p:cNvPr>
          <p:cNvSpPr/>
          <p:nvPr/>
        </p:nvSpPr>
        <p:spPr>
          <a:xfrm>
            <a:off x="0" y="0"/>
            <a:ext cx="12192000" cy="1169043"/>
          </a:xfrm>
          <a:prstGeom prst="rect">
            <a:avLst/>
          </a:prstGeom>
          <a:solidFill>
            <a:srgbClr val="5C2D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6F293ACC-1676-004E-8ABF-D24AAAC15BF5}"/>
              </a:ext>
            </a:extLst>
          </p:cNvPr>
          <p:cNvSpPr>
            <a:spLocks noGrp="1"/>
          </p:cNvSpPr>
          <p:nvPr>
            <p:ph type="title"/>
          </p:nvPr>
        </p:nvSpPr>
        <p:spPr/>
        <p:txBody>
          <a:bodyPr/>
          <a:lstStyle/>
          <a:p>
            <a:r>
              <a:rPr lang="en-US" b="0" dirty="0">
                <a:latin typeface="+mn-lt"/>
              </a:rPr>
              <a:t>Student collaboration examples </a:t>
            </a:r>
          </a:p>
        </p:txBody>
      </p:sp>
      <p:sp>
        <p:nvSpPr>
          <p:cNvPr id="19" name="yellow highlight - comment">
            <a:extLst>
              <a:ext uri="{FF2B5EF4-FFF2-40B4-BE49-F238E27FC236}">
                <a16:creationId xmlns:a16="http://schemas.microsoft.com/office/drawing/2014/main" id="{7A28F464-8674-0643-A89E-5C0191EF48FC}"/>
              </a:ext>
            </a:extLst>
          </p:cNvPr>
          <p:cNvSpPr/>
          <p:nvPr/>
        </p:nvSpPr>
        <p:spPr>
          <a:xfrm>
            <a:off x="6805496" y="2762405"/>
            <a:ext cx="1283428" cy="437995"/>
          </a:xfrm>
          <a:prstGeom prst="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ntent Placeholder 4" descr="A screenshot of a cell phone&#10;&#10;Description generated with very high confidence">
            <a:extLst>
              <a:ext uri="{FF2B5EF4-FFF2-40B4-BE49-F238E27FC236}">
                <a16:creationId xmlns:a16="http://schemas.microsoft.com/office/drawing/2014/main" id="{C6F789FD-C52B-974C-B3DF-22B735CB27EA}"/>
              </a:ext>
            </a:extLst>
          </p:cNvPr>
          <p:cNvPicPr>
            <a:picLocks noGrp="1" noChangeAspect="1"/>
          </p:cNvPicPr>
          <p:nvPr>
            <p:ph sz="half" idx="1"/>
          </p:nvPr>
        </p:nvPicPr>
        <p:blipFill rotWithShape="1">
          <a:blip r:embed="rId3"/>
          <a:srcRect b="17437"/>
          <a:stretch/>
        </p:blipFill>
        <p:spPr>
          <a:xfrm>
            <a:off x="2881812" y="1262708"/>
            <a:ext cx="6428376" cy="5474976"/>
          </a:xfrm>
        </p:spPr>
      </p:pic>
      <p:grpSp>
        <p:nvGrpSpPr>
          <p:cNvPr id="3" name="Conversations highlight ">
            <a:extLst>
              <a:ext uri="{FF2B5EF4-FFF2-40B4-BE49-F238E27FC236}">
                <a16:creationId xmlns:a16="http://schemas.microsoft.com/office/drawing/2014/main" id="{6FD980DA-4C4D-5747-AB6B-CD3E7FDF1DBB}"/>
              </a:ext>
            </a:extLst>
          </p:cNvPr>
          <p:cNvGrpSpPr/>
          <p:nvPr/>
        </p:nvGrpSpPr>
        <p:grpSpPr>
          <a:xfrm>
            <a:off x="2881812" y="1262708"/>
            <a:ext cx="6428376" cy="5474975"/>
            <a:chOff x="2881812" y="1262708"/>
            <a:chExt cx="6428376" cy="5474975"/>
          </a:xfrm>
        </p:grpSpPr>
        <p:sp>
          <p:nvSpPr>
            <p:cNvPr id="15" name="Conversations highlight">
              <a:extLst>
                <a:ext uri="{FF2B5EF4-FFF2-40B4-BE49-F238E27FC236}">
                  <a16:creationId xmlns:a16="http://schemas.microsoft.com/office/drawing/2014/main" id="{A962CB03-A940-0A44-B0A0-98A2C8EB7C53}"/>
                </a:ext>
              </a:extLst>
            </p:cNvPr>
            <p:cNvSpPr/>
            <p:nvPr/>
          </p:nvSpPr>
          <p:spPr>
            <a:xfrm>
              <a:off x="2881812" y="1262708"/>
              <a:ext cx="6428376" cy="5474975"/>
            </a:xfrm>
            <a:custGeom>
              <a:avLst/>
              <a:gdLst>
                <a:gd name="connsiteX0" fmla="*/ 67237 w 6428376"/>
                <a:gd name="connsiteY0" fmla="*/ 364386 h 5474975"/>
                <a:gd name="connsiteX1" fmla="*/ 67237 w 6428376"/>
                <a:gd name="connsiteY1" fmla="*/ 608166 h 5474975"/>
                <a:gd name="connsiteX2" fmla="*/ 789234 w 6428376"/>
                <a:gd name="connsiteY2" fmla="*/ 608166 h 5474975"/>
                <a:gd name="connsiteX3" fmla="*/ 789234 w 6428376"/>
                <a:gd name="connsiteY3" fmla="*/ 364386 h 5474975"/>
                <a:gd name="connsiteX4" fmla="*/ 0 w 6428376"/>
                <a:gd name="connsiteY4" fmla="*/ 0 h 5474975"/>
                <a:gd name="connsiteX5" fmla="*/ 6428376 w 6428376"/>
                <a:gd name="connsiteY5" fmla="*/ 0 h 5474975"/>
                <a:gd name="connsiteX6" fmla="*/ 6428376 w 6428376"/>
                <a:gd name="connsiteY6" fmla="*/ 364386 h 5474975"/>
                <a:gd name="connsiteX7" fmla="*/ 6428375 w 6428376"/>
                <a:gd name="connsiteY7" fmla="*/ 364386 h 5474975"/>
                <a:gd name="connsiteX8" fmla="*/ 6428375 w 6428376"/>
                <a:gd name="connsiteY8" fmla="*/ 608166 h 5474975"/>
                <a:gd name="connsiteX9" fmla="*/ 6428376 w 6428376"/>
                <a:gd name="connsiteY9" fmla="*/ 608166 h 5474975"/>
                <a:gd name="connsiteX10" fmla="*/ 6428376 w 6428376"/>
                <a:gd name="connsiteY10" fmla="*/ 5474975 h 5474975"/>
                <a:gd name="connsiteX11" fmla="*/ 0 w 6428376"/>
                <a:gd name="connsiteY11" fmla="*/ 5474975 h 5474975"/>
                <a:gd name="connsiteX12" fmla="*/ 0 w 6428376"/>
                <a:gd name="connsiteY12" fmla="*/ 608166 h 5474975"/>
                <a:gd name="connsiteX13" fmla="*/ 6277 w 6428376"/>
                <a:gd name="connsiteY13" fmla="*/ 608166 h 5474975"/>
                <a:gd name="connsiteX14" fmla="*/ 6277 w 6428376"/>
                <a:gd name="connsiteY14" fmla="*/ 364386 h 5474975"/>
                <a:gd name="connsiteX15" fmla="*/ 0 w 6428376"/>
                <a:gd name="connsiteY15" fmla="*/ 364386 h 547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28376" h="5474975">
                  <a:moveTo>
                    <a:pt x="67237" y="364386"/>
                  </a:moveTo>
                  <a:lnTo>
                    <a:pt x="67237" y="608166"/>
                  </a:lnTo>
                  <a:lnTo>
                    <a:pt x="789234" y="608166"/>
                  </a:lnTo>
                  <a:lnTo>
                    <a:pt x="789234" y="364386"/>
                  </a:lnTo>
                  <a:close/>
                  <a:moveTo>
                    <a:pt x="0" y="0"/>
                  </a:moveTo>
                  <a:lnTo>
                    <a:pt x="6428376" y="0"/>
                  </a:lnTo>
                  <a:lnTo>
                    <a:pt x="6428376" y="364386"/>
                  </a:lnTo>
                  <a:lnTo>
                    <a:pt x="6428375" y="364386"/>
                  </a:lnTo>
                  <a:lnTo>
                    <a:pt x="6428375" y="608166"/>
                  </a:lnTo>
                  <a:lnTo>
                    <a:pt x="6428376" y="608166"/>
                  </a:lnTo>
                  <a:lnTo>
                    <a:pt x="6428376" y="5474975"/>
                  </a:lnTo>
                  <a:lnTo>
                    <a:pt x="0" y="5474975"/>
                  </a:lnTo>
                  <a:lnTo>
                    <a:pt x="0" y="608166"/>
                  </a:lnTo>
                  <a:lnTo>
                    <a:pt x="6277" y="608166"/>
                  </a:lnTo>
                  <a:lnTo>
                    <a:pt x="6277" y="364386"/>
                  </a:lnTo>
                  <a:lnTo>
                    <a:pt x="0" y="364386"/>
                  </a:lnTo>
                  <a:close/>
                </a:path>
              </a:pathLst>
            </a:custGeom>
            <a:solidFill>
              <a:schemeClr val="tx1">
                <a:lumMod val="85000"/>
                <a:lumOff val="1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yellow highlight - comment">
              <a:extLst>
                <a:ext uri="{FF2B5EF4-FFF2-40B4-BE49-F238E27FC236}">
                  <a16:creationId xmlns:a16="http://schemas.microsoft.com/office/drawing/2014/main" id="{A012CA1A-DD69-8943-B5C0-F3409658B12A}"/>
                </a:ext>
              </a:extLst>
            </p:cNvPr>
            <p:cNvSpPr/>
            <p:nvPr/>
          </p:nvSpPr>
          <p:spPr>
            <a:xfrm>
              <a:off x="2949048" y="1627094"/>
              <a:ext cx="721999" cy="228599"/>
            </a:xfrm>
            <a:prstGeom prst="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Student 1 highlight">
            <a:extLst>
              <a:ext uri="{FF2B5EF4-FFF2-40B4-BE49-F238E27FC236}">
                <a16:creationId xmlns:a16="http://schemas.microsoft.com/office/drawing/2014/main" id="{2CAA9D7F-498D-2845-A147-D91D62A8E2C6}"/>
              </a:ext>
            </a:extLst>
          </p:cNvPr>
          <p:cNvGrpSpPr/>
          <p:nvPr/>
        </p:nvGrpSpPr>
        <p:grpSpPr>
          <a:xfrm>
            <a:off x="2881812" y="1262708"/>
            <a:ext cx="6428377" cy="5474975"/>
            <a:chOff x="2881812" y="1262708"/>
            <a:chExt cx="6428377" cy="5474975"/>
          </a:xfrm>
        </p:grpSpPr>
        <p:sp>
          <p:nvSpPr>
            <p:cNvPr id="22" name="Freeform 21">
              <a:extLst>
                <a:ext uri="{FF2B5EF4-FFF2-40B4-BE49-F238E27FC236}">
                  <a16:creationId xmlns:a16="http://schemas.microsoft.com/office/drawing/2014/main" id="{BC21196B-EECA-AF44-9369-F2811BB21D29}"/>
                </a:ext>
              </a:extLst>
            </p:cNvPr>
            <p:cNvSpPr/>
            <p:nvPr/>
          </p:nvSpPr>
          <p:spPr>
            <a:xfrm>
              <a:off x="2881812" y="1262708"/>
              <a:ext cx="6428377" cy="5474975"/>
            </a:xfrm>
            <a:custGeom>
              <a:avLst/>
              <a:gdLst>
                <a:gd name="connsiteX0" fmla="*/ 528918 w 6428377"/>
                <a:gd name="connsiteY0" fmla="*/ 3034972 h 5474975"/>
                <a:gd name="connsiteX1" fmla="*/ 528918 w 6428377"/>
                <a:gd name="connsiteY1" fmla="*/ 3464283 h 5474975"/>
                <a:gd name="connsiteX2" fmla="*/ 6262187 w 6428377"/>
                <a:gd name="connsiteY2" fmla="*/ 3464283 h 5474975"/>
                <a:gd name="connsiteX3" fmla="*/ 6262187 w 6428377"/>
                <a:gd name="connsiteY3" fmla="*/ 3034972 h 5474975"/>
                <a:gd name="connsiteX4" fmla="*/ 0 w 6428377"/>
                <a:gd name="connsiteY4" fmla="*/ 0 h 5474975"/>
                <a:gd name="connsiteX5" fmla="*/ 6428376 w 6428377"/>
                <a:gd name="connsiteY5" fmla="*/ 0 h 5474975"/>
                <a:gd name="connsiteX6" fmla="*/ 6428376 w 6428377"/>
                <a:gd name="connsiteY6" fmla="*/ 1143805 h 5474975"/>
                <a:gd name="connsiteX7" fmla="*/ 6428377 w 6428377"/>
                <a:gd name="connsiteY7" fmla="*/ 1143805 h 5474975"/>
                <a:gd name="connsiteX8" fmla="*/ 6428377 w 6428377"/>
                <a:gd name="connsiteY8" fmla="*/ 4178777 h 5474975"/>
                <a:gd name="connsiteX9" fmla="*/ 6428376 w 6428377"/>
                <a:gd name="connsiteY9" fmla="*/ 4178777 h 5474975"/>
                <a:gd name="connsiteX10" fmla="*/ 6428376 w 6428377"/>
                <a:gd name="connsiteY10" fmla="*/ 5474975 h 5474975"/>
                <a:gd name="connsiteX11" fmla="*/ 0 w 6428377"/>
                <a:gd name="connsiteY11" fmla="*/ 5474975 h 5474975"/>
                <a:gd name="connsiteX12" fmla="*/ 0 w 6428377"/>
                <a:gd name="connsiteY12" fmla="*/ 4026950 h 5474975"/>
                <a:gd name="connsiteX13" fmla="*/ 0 w 6428377"/>
                <a:gd name="connsiteY13" fmla="*/ 3464283 h 5474975"/>
                <a:gd name="connsiteX14" fmla="*/ 0 w 6428377"/>
                <a:gd name="connsiteY14" fmla="*/ 3034972 h 5474975"/>
                <a:gd name="connsiteX15" fmla="*/ 0 w 6428377"/>
                <a:gd name="connsiteY15" fmla="*/ 991978 h 547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28377" h="5474975">
                  <a:moveTo>
                    <a:pt x="528918" y="3034972"/>
                  </a:moveTo>
                  <a:lnTo>
                    <a:pt x="528918" y="3464283"/>
                  </a:lnTo>
                  <a:lnTo>
                    <a:pt x="6262187" y="3464283"/>
                  </a:lnTo>
                  <a:lnTo>
                    <a:pt x="6262187" y="3034972"/>
                  </a:lnTo>
                  <a:close/>
                  <a:moveTo>
                    <a:pt x="0" y="0"/>
                  </a:moveTo>
                  <a:lnTo>
                    <a:pt x="6428376" y="0"/>
                  </a:lnTo>
                  <a:lnTo>
                    <a:pt x="6428376" y="1143805"/>
                  </a:lnTo>
                  <a:lnTo>
                    <a:pt x="6428377" y="1143805"/>
                  </a:lnTo>
                  <a:lnTo>
                    <a:pt x="6428377" y="4178777"/>
                  </a:lnTo>
                  <a:lnTo>
                    <a:pt x="6428376" y="4178777"/>
                  </a:lnTo>
                  <a:lnTo>
                    <a:pt x="6428376" y="5474975"/>
                  </a:lnTo>
                  <a:lnTo>
                    <a:pt x="0" y="5474975"/>
                  </a:lnTo>
                  <a:lnTo>
                    <a:pt x="0" y="4026950"/>
                  </a:lnTo>
                  <a:lnTo>
                    <a:pt x="0" y="3464283"/>
                  </a:lnTo>
                  <a:lnTo>
                    <a:pt x="0" y="3034972"/>
                  </a:lnTo>
                  <a:lnTo>
                    <a:pt x="0" y="991978"/>
                  </a:lnTo>
                  <a:close/>
                </a:path>
              </a:pathLst>
            </a:custGeom>
            <a:solidFill>
              <a:schemeClr val="tx1">
                <a:lumMod val="85000"/>
                <a:lumOff val="1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yellow highlight - comment">
              <a:extLst>
                <a:ext uri="{FF2B5EF4-FFF2-40B4-BE49-F238E27FC236}">
                  <a16:creationId xmlns:a16="http://schemas.microsoft.com/office/drawing/2014/main" id="{FB6E205E-9335-EF45-9132-46DF30AA8803}"/>
                </a:ext>
              </a:extLst>
            </p:cNvPr>
            <p:cNvSpPr/>
            <p:nvPr/>
          </p:nvSpPr>
          <p:spPr>
            <a:xfrm>
              <a:off x="3410731" y="4303411"/>
              <a:ext cx="5733269" cy="423580"/>
            </a:xfrm>
            <a:prstGeom prst="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Student 2 highlight">
            <a:extLst>
              <a:ext uri="{FF2B5EF4-FFF2-40B4-BE49-F238E27FC236}">
                <a16:creationId xmlns:a16="http://schemas.microsoft.com/office/drawing/2014/main" id="{5C88C78B-D8F1-334D-AC3A-F65AD2842F8D}"/>
              </a:ext>
            </a:extLst>
          </p:cNvPr>
          <p:cNvGrpSpPr/>
          <p:nvPr/>
        </p:nvGrpSpPr>
        <p:grpSpPr>
          <a:xfrm>
            <a:off x="2881812" y="1262707"/>
            <a:ext cx="6428377" cy="5474975"/>
            <a:chOff x="2881812" y="1262707"/>
            <a:chExt cx="6428377" cy="5474975"/>
          </a:xfrm>
        </p:grpSpPr>
        <p:sp>
          <p:nvSpPr>
            <p:cNvPr id="27" name="Freeform 26">
              <a:extLst>
                <a:ext uri="{FF2B5EF4-FFF2-40B4-BE49-F238E27FC236}">
                  <a16:creationId xmlns:a16="http://schemas.microsoft.com/office/drawing/2014/main" id="{E13FC91A-27F4-4047-8CB5-E00730F1FB1D}"/>
                </a:ext>
              </a:extLst>
            </p:cNvPr>
            <p:cNvSpPr/>
            <p:nvPr/>
          </p:nvSpPr>
          <p:spPr>
            <a:xfrm>
              <a:off x="2881812" y="1262707"/>
              <a:ext cx="6428377" cy="5474975"/>
            </a:xfrm>
            <a:custGeom>
              <a:avLst/>
              <a:gdLst>
                <a:gd name="connsiteX0" fmla="*/ 528918 w 6428377"/>
                <a:gd name="connsiteY0" fmla="*/ 4173619 h 5474975"/>
                <a:gd name="connsiteX1" fmla="*/ 528918 w 6428377"/>
                <a:gd name="connsiteY1" fmla="*/ 4597200 h 5474975"/>
                <a:gd name="connsiteX2" fmla="*/ 6262187 w 6428377"/>
                <a:gd name="connsiteY2" fmla="*/ 4597200 h 5474975"/>
                <a:gd name="connsiteX3" fmla="*/ 6262187 w 6428377"/>
                <a:gd name="connsiteY3" fmla="*/ 4173619 h 5474975"/>
                <a:gd name="connsiteX4" fmla="*/ 0 w 6428377"/>
                <a:gd name="connsiteY4" fmla="*/ 0 h 5474975"/>
                <a:gd name="connsiteX5" fmla="*/ 6428376 w 6428377"/>
                <a:gd name="connsiteY5" fmla="*/ 0 h 5474975"/>
                <a:gd name="connsiteX6" fmla="*/ 6428376 w 6428377"/>
                <a:gd name="connsiteY6" fmla="*/ 1830456 h 5474975"/>
                <a:gd name="connsiteX7" fmla="*/ 6428377 w 6428377"/>
                <a:gd name="connsiteY7" fmla="*/ 1830456 h 5474975"/>
                <a:gd name="connsiteX8" fmla="*/ 6428377 w 6428377"/>
                <a:gd name="connsiteY8" fmla="*/ 4865428 h 5474975"/>
                <a:gd name="connsiteX9" fmla="*/ 6428376 w 6428377"/>
                <a:gd name="connsiteY9" fmla="*/ 4865428 h 5474975"/>
                <a:gd name="connsiteX10" fmla="*/ 6428376 w 6428377"/>
                <a:gd name="connsiteY10" fmla="*/ 5474975 h 5474975"/>
                <a:gd name="connsiteX11" fmla="*/ 0 w 6428377"/>
                <a:gd name="connsiteY11" fmla="*/ 5474975 h 5474975"/>
                <a:gd name="connsiteX12" fmla="*/ 0 w 6428377"/>
                <a:gd name="connsiteY12" fmla="*/ 4713601 h 5474975"/>
                <a:gd name="connsiteX13" fmla="*/ 0 w 6428377"/>
                <a:gd name="connsiteY13" fmla="*/ 4597200 h 5474975"/>
                <a:gd name="connsiteX14" fmla="*/ 0 w 6428377"/>
                <a:gd name="connsiteY14" fmla="*/ 4173619 h 5474975"/>
                <a:gd name="connsiteX15" fmla="*/ 0 w 6428377"/>
                <a:gd name="connsiteY15" fmla="*/ 1678629 h 547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28377" h="5474975">
                  <a:moveTo>
                    <a:pt x="528918" y="4173619"/>
                  </a:moveTo>
                  <a:lnTo>
                    <a:pt x="528918" y="4597200"/>
                  </a:lnTo>
                  <a:lnTo>
                    <a:pt x="6262187" y="4597200"/>
                  </a:lnTo>
                  <a:lnTo>
                    <a:pt x="6262187" y="4173619"/>
                  </a:lnTo>
                  <a:close/>
                  <a:moveTo>
                    <a:pt x="0" y="0"/>
                  </a:moveTo>
                  <a:lnTo>
                    <a:pt x="6428376" y="0"/>
                  </a:lnTo>
                  <a:lnTo>
                    <a:pt x="6428376" y="1830456"/>
                  </a:lnTo>
                  <a:lnTo>
                    <a:pt x="6428377" y="1830456"/>
                  </a:lnTo>
                  <a:lnTo>
                    <a:pt x="6428377" y="4865428"/>
                  </a:lnTo>
                  <a:lnTo>
                    <a:pt x="6428376" y="4865428"/>
                  </a:lnTo>
                  <a:lnTo>
                    <a:pt x="6428376" y="5474975"/>
                  </a:lnTo>
                  <a:lnTo>
                    <a:pt x="0" y="5474975"/>
                  </a:lnTo>
                  <a:lnTo>
                    <a:pt x="0" y="4713601"/>
                  </a:lnTo>
                  <a:lnTo>
                    <a:pt x="0" y="4597200"/>
                  </a:lnTo>
                  <a:lnTo>
                    <a:pt x="0" y="4173619"/>
                  </a:lnTo>
                  <a:lnTo>
                    <a:pt x="0" y="1678629"/>
                  </a:lnTo>
                  <a:close/>
                </a:path>
              </a:pathLst>
            </a:custGeom>
            <a:solidFill>
              <a:schemeClr val="tx1">
                <a:lumMod val="85000"/>
                <a:lumOff val="1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yellow highlight - comment">
              <a:extLst>
                <a:ext uri="{FF2B5EF4-FFF2-40B4-BE49-F238E27FC236}">
                  <a16:creationId xmlns:a16="http://schemas.microsoft.com/office/drawing/2014/main" id="{3F95E5C8-2188-CA42-843C-77527D76346C}"/>
                </a:ext>
              </a:extLst>
            </p:cNvPr>
            <p:cNvSpPr/>
            <p:nvPr/>
          </p:nvSpPr>
          <p:spPr>
            <a:xfrm>
              <a:off x="3410730" y="5436328"/>
              <a:ext cx="5733269" cy="423580"/>
            </a:xfrm>
            <a:prstGeom prst="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4522342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subTnLst>
                                    <p:set>
                                      <p:cBhvr override="childStyle">
                                        <p:cTn dur="1" fill="hold" display="0" masterRel="nextClick" afterEffect="1"/>
                                        <p:tgtEl>
                                          <p:spTgt spid="3"/>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6CC66-7763-4F14-B482-565E51F0091F}"/>
              </a:ext>
            </a:extLst>
          </p:cNvPr>
          <p:cNvSpPr>
            <a:spLocks noGrp="1"/>
          </p:cNvSpPr>
          <p:nvPr>
            <p:ph type="title"/>
          </p:nvPr>
        </p:nvSpPr>
        <p:spPr/>
        <p:txBody>
          <a:bodyPr/>
          <a:lstStyle/>
          <a:p>
            <a:r>
              <a:rPr lang="en-US" sz="4000" dirty="0"/>
              <a:t>Review Student Work</a:t>
            </a:r>
          </a:p>
        </p:txBody>
      </p:sp>
      <p:pic>
        <p:nvPicPr>
          <p:cNvPr id="4" name="Picture 3">
            <a:extLst>
              <a:ext uri="{FF2B5EF4-FFF2-40B4-BE49-F238E27FC236}">
                <a16:creationId xmlns:a16="http://schemas.microsoft.com/office/drawing/2014/main" id="{6977FBC1-D38C-40DF-BE52-B945A963D039}"/>
              </a:ext>
            </a:extLst>
          </p:cNvPr>
          <p:cNvPicPr>
            <a:picLocks noChangeAspect="1"/>
          </p:cNvPicPr>
          <p:nvPr/>
        </p:nvPicPr>
        <p:blipFill>
          <a:blip r:embed="rId2"/>
          <a:stretch>
            <a:fillRect/>
          </a:stretch>
        </p:blipFill>
        <p:spPr>
          <a:xfrm>
            <a:off x="228600" y="1295400"/>
            <a:ext cx="6228676" cy="448627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5" name="Picture 4">
            <a:extLst>
              <a:ext uri="{FF2B5EF4-FFF2-40B4-BE49-F238E27FC236}">
                <a16:creationId xmlns:a16="http://schemas.microsoft.com/office/drawing/2014/main" id="{D18DF559-66E8-4F91-A662-4ACDC3ECEA59}"/>
              </a:ext>
            </a:extLst>
          </p:cNvPr>
          <p:cNvPicPr>
            <a:picLocks noChangeAspect="1"/>
          </p:cNvPicPr>
          <p:nvPr/>
        </p:nvPicPr>
        <p:blipFill>
          <a:blip r:embed="rId3"/>
          <a:stretch>
            <a:fillRect/>
          </a:stretch>
        </p:blipFill>
        <p:spPr>
          <a:xfrm>
            <a:off x="7391400" y="1288678"/>
            <a:ext cx="4305300" cy="449299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42060929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6CC66-7763-4F14-B482-565E51F0091F}"/>
              </a:ext>
            </a:extLst>
          </p:cNvPr>
          <p:cNvSpPr>
            <a:spLocks noGrp="1"/>
          </p:cNvSpPr>
          <p:nvPr>
            <p:ph type="title"/>
          </p:nvPr>
        </p:nvSpPr>
        <p:spPr/>
        <p:txBody>
          <a:bodyPr/>
          <a:lstStyle/>
          <a:p>
            <a:r>
              <a:rPr lang="en-US" sz="4000" dirty="0"/>
              <a:t>Provide Feedback</a:t>
            </a:r>
          </a:p>
        </p:txBody>
      </p:sp>
      <p:pic>
        <p:nvPicPr>
          <p:cNvPr id="3" name="Picture 2">
            <a:extLst>
              <a:ext uri="{FF2B5EF4-FFF2-40B4-BE49-F238E27FC236}">
                <a16:creationId xmlns:a16="http://schemas.microsoft.com/office/drawing/2014/main" id="{27E210E1-E133-4197-AD61-E419D2256835}"/>
              </a:ext>
            </a:extLst>
          </p:cNvPr>
          <p:cNvPicPr>
            <a:picLocks noChangeAspect="1"/>
          </p:cNvPicPr>
          <p:nvPr/>
        </p:nvPicPr>
        <p:blipFill>
          <a:blip r:embed="rId2"/>
          <a:stretch>
            <a:fillRect/>
          </a:stretch>
        </p:blipFill>
        <p:spPr>
          <a:xfrm>
            <a:off x="1866900" y="1066800"/>
            <a:ext cx="9410700" cy="538332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39012002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Bef>
                <a:spcPts val="600"/>
              </a:spcBef>
              <a:spcAft>
                <a:spcPts val="600"/>
              </a:spcAft>
            </a:pPr>
            <a:r>
              <a:rPr lang="en-US" dirty="0"/>
              <a:t>Reflection</a:t>
            </a:r>
            <a:br>
              <a:rPr lang="en-US" dirty="0"/>
            </a:br>
            <a:br>
              <a:rPr lang="en-US" sz="2800" dirty="0">
                <a:latin typeface="+mn-lt"/>
              </a:rPr>
            </a:br>
            <a:r>
              <a:rPr lang="en-US" sz="3200" dirty="0">
                <a:latin typeface="+mn-lt"/>
                <a:cs typeface="Arial" panose="020B0604020202020204" pitchFamily="34" charset="0"/>
              </a:rPr>
              <a:t>How might a digital </a:t>
            </a:r>
            <a:br>
              <a:rPr lang="en-US" sz="3200" dirty="0">
                <a:latin typeface="+mn-lt"/>
                <a:cs typeface="Arial" panose="020B0604020202020204" pitchFamily="34" charset="0"/>
              </a:rPr>
            </a:br>
            <a:r>
              <a:rPr lang="en-US" sz="3200" dirty="0">
                <a:latin typeface="+mn-lt"/>
                <a:cs typeface="Arial" panose="020B0604020202020204" pitchFamily="34" charset="0"/>
              </a:rPr>
              <a:t>binder with both private </a:t>
            </a:r>
            <a:br>
              <a:rPr lang="en-US" sz="3200" dirty="0">
                <a:latin typeface="+mn-lt"/>
                <a:cs typeface="Arial" panose="020B0604020202020204" pitchFamily="34" charset="0"/>
              </a:rPr>
            </a:br>
            <a:r>
              <a:rPr lang="en-US" sz="3200" dirty="0">
                <a:latin typeface="+mn-lt"/>
                <a:cs typeface="Arial" panose="020B0604020202020204" pitchFamily="34" charset="0"/>
              </a:rPr>
              <a:t>and collaborative spaces enhance student learning?</a:t>
            </a:r>
            <a:br>
              <a:rPr lang="en-US" sz="3200" dirty="0">
                <a:solidFill>
                  <a:schemeClr val="bg1"/>
                </a:solidFill>
                <a:latin typeface="+mn-lt"/>
                <a:ea typeface="Verdana" panose="020B0604030504040204" pitchFamily="34" charset="0"/>
                <a:cs typeface="Arial" panose="020B0604020202020204" pitchFamily="34" charset="0"/>
              </a:rPr>
            </a:br>
            <a:endParaRPr lang="en-US" sz="3370" b="1" dirty="0">
              <a:latin typeface="+mn-lt"/>
            </a:endParaRPr>
          </a:p>
        </p:txBody>
      </p:sp>
    </p:spTree>
    <p:extLst>
      <p:ext uri="{BB962C8B-B14F-4D97-AF65-F5344CB8AC3E}">
        <p14:creationId xmlns:p14="http://schemas.microsoft.com/office/powerpoint/2010/main" val="210013120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FB0C5C7-FD0C-433D-B21D-62104CB58D1A}"/>
              </a:ext>
            </a:extLst>
          </p:cNvPr>
          <p:cNvSpPr/>
          <p:nvPr/>
        </p:nvSpPr>
        <p:spPr>
          <a:xfrm>
            <a:off x="647700" y="304800"/>
            <a:ext cx="9677400" cy="2585323"/>
          </a:xfrm>
          <a:prstGeom prst="rect">
            <a:avLst/>
          </a:prstGeom>
        </p:spPr>
        <p:txBody>
          <a:bodyPr wrap="square">
            <a:spAutoFit/>
          </a:bodyPr>
          <a:lstStyle/>
          <a:p>
            <a:r>
              <a:rPr lang="en-US" sz="5400" dirty="0"/>
              <a:t>How can we support? </a:t>
            </a:r>
            <a:br>
              <a:rPr lang="en-US" sz="5400" dirty="0"/>
            </a:br>
            <a:br>
              <a:rPr lang="en-US" sz="5400" dirty="0"/>
            </a:br>
            <a:endParaRPr lang="en-US" sz="5400" dirty="0"/>
          </a:p>
        </p:txBody>
      </p:sp>
      <p:pic>
        <p:nvPicPr>
          <p:cNvPr id="4" name="Picture 3" descr="A picture containing indoor, toaster, sitting, table&#10;&#10;Description automatically generated">
            <a:extLst>
              <a:ext uri="{FF2B5EF4-FFF2-40B4-BE49-F238E27FC236}">
                <a16:creationId xmlns:a16="http://schemas.microsoft.com/office/drawing/2014/main" id="{BDA7CBDD-37ED-4107-AC6E-08C80767A277}"/>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993359" y="2133600"/>
            <a:ext cx="8205282" cy="3443288"/>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pic>
        <p:nvPicPr>
          <p:cNvPr id="6" name="Picture 5" descr="A picture containing drawing&#10;&#10;Description automatically generated">
            <a:extLst>
              <a:ext uri="{FF2B5EF4-FFF2-40B4-BE49-F238E27FC236}">
                <a16:creationId xmlns:a16="http://schemas.microsoft.com/office/drawing/2014/main" id="{BF98B1B5-4761-4D7E-A977-8C7D0B543CD2}"/>
              </a:ext>
            </a:extLst>
          </p:cNvPr>
          <p:cNvPicPr>
            <a:picLocks noChangeAspect="1"/>
          </p:cNvPicPr>
          <p:nvPr/>
        </p:nvPicPr>
        <p:blipFill>
          <a:blip r:embed="rId5" cstate="print">
            <a:clrChange>
              <a:clrFrom>
                <a:srgbClr val="FFFFFE"/>
              </a:clrFrom>
              <a:clrTo>
                <a:srgbClr val="FFFFFE">
                  <a:alpha val="0"/>
                </a:srgbClr>
              </a:clrTo>
            </a:clrChange>
            <a:extLst>
              <a:ext uri="{28A0092B-C50C-407E-A947-70E740481C1C}">
                <a14:useLocalDpi xmlns:a14="http://schemas.microsoft.com/office/drawing/2010/main" val="0"/>
              </a:ext>
            </a:extLst>
          </a:blip>
          <a:stretch>
            <a:fillRect/>
          </a:stretch>
        </p:blipFill>
        <p:spPr>
          <a:xfrm>
            <a:off x="10325338" y="0"/>
            <a:ext cx="1600200" cy="1600200"/>
          </a:xfrm>
          <a:prstGeom prst="rect">
            <a:avLst/>
          </a:prstGeom>
        </p:spPr>
      </p:pic>
    </p:spTree>
    <p:extLst>
      <p:ext uri="{BB962C8B-B14F-4D97-AF65-F5344CB8AC3E}">
        <p14:creationId xmlns:p14="http://schemas.microsoft.com/office/powerpoint/2010/main" val="68494837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2E4C767-21A2-4A9C-AE73-4FD51066D64D}"/>
              </a:ext>
            </a:extLst>
          </p:cNvPr>
          <p:cNvSpPr txBox="1"/>
          <p:nvPr/>
        </p:nvSpPr>
        <p:spPr>
          <a:xfrm>
            <a:off x="419100" y="419100"/>
            <a:ext cx="6515100" cy="1323439"/>
          </a:xfrm>
          <a:prstGeom prst="rect">
            <a:avLst/>
          </a:prstGeom>
          <a:noFill/>
        </p:spPr>
        <p:txBody>
          <a:bodyPr wrap="square" rtlCol="0">
            <a:spAutoFit/>
          </a:bodyPr>
          <a:lstStyle/>
          <a:p>
            <a:r>
              <a:rPr lang="en-US" sz="8000" dirty="0">
                <a:solidFill>
                  <a:schemeClr val="tx2"/>
                </a:solidFill>
              </a:rPr>
              <a:t>Thank You</a:t>
            </a:r>
          </a:p>
        </p:txBody>
      </p:sp>
      <p:pic>
        <p:nvPicPr>
          <p:cNvPr id="5" name="Picture 4" descr="A picture containing drawing&#10;&#10;Description automatically generated">
            <a:extLst>
              <a:ext uri="{FF2B5EF4-FFF2-40B4-BE49-F238E27FC236}">
                <a16:creationId xmlns:a16="http://schemas.microsoft.com/office/drawing/2014/main" id="{E331A3E2-6275-4C42-A3F7-539C64DC8999}"/>
              </a:ext>
            </a:extLst>
          </p:cNvPr>
          <p:cNvPicPr>
            <a:picLocks noChangeAspect="1"/>
          </p:cNvPicPr>
          <p:nvPr/>
        </p:nvPicPr>
        <p:blipFill>
          <a:blip r:embed="rId2" cstate="print">
            <a:clrChange>
              <a:clrFrom>
                <a:srgbClr val="FFFFFE"/>
              </a:clrFrom>
              <a:clrTo>
                <a:srgbClr val="FFFFFE">
                  <a:alpha val="0"/>
                </a:srgbClr>
              </a:clrTo>
            </a:clrChange>
            <a:extLst>
              <a:ext uri="{28A0092B-C50C-407E-A947-70E740481C1C}">
                <a14:useLocalDpi xmlns:a14="http://schemas.microsoft.com/office/drawing/2010/main" val="0"/>
              </a:ext>
            </a:extLst>
          </a:blip>
          <a:stretch>
            <a:fillRect/>
          </a:stretch>
        </p:blipFill>
        <p:spPr>
          <a:xfrm>
            <a:off x="10325100" y="105017"/>
            <a:ext cx="1637522" cy="1637522"/>
          </a:xfrm>
          <a:prstGeom prst="rect">
            <a:avLst/>
          </a:prstGeom>
        </p:spPr>
      </p:pic>
      <p:sp>
        <p:nvSpPr>
          <p:cNvPr id="6" name="TextBox 5">
            <a:extLst>
              <a:ext uri="{FF2B5EF4-FFF2-40B4-BE49-F238E27FC236}">
                <a16:creationId xmlns:a16="http://schemas.microsoft.com/office/drawing/2014/main" id="{56978F9E-A31E-45CD-9807-6E2AE8C0C11A}"/>
              </a:ext>
            </a:extLst>
          </p:cNvPr>
          <p:cNvSpPr txBox="1"/>
          <p:nvPr/>
        </p:nvSpPr>
        <p:spPr>
          <a:xfrm>
            <a:off x="533400" y="2476500"/>
            <a:ext cx="5753100" cy="3293209"/>
          </a:xfrm>
          <a:prstGeom prst="rect">
            <a:avLst/>
          </a:prstGeom>
          <a:noFill/>
        </p:spPr>
        <p:txBody>
          <a:bodyPr wrap="square">
            <a:spAutoFit/>
          </a:bodyPr>
          <a:lstStyle/>
          <a:p>
            <a:r>
              <a:rPr lang="en-US" sz="1800" u="sng" dirty="0"/>
              <a:t>Next Webinar: Friday, April 17, 2020</a:t>
            </a:r>
            <a:br>
              <a:rPr lang="en-US" sz="1800" dirty="0"/>
            </a:br>
            <a:r>
              <a:rPr lang="en-US" sz="1800" b="1" dirty="0"/>
              <a:t>Supporting </a:t>
            </a:r>
            <a:r>
              <a:rPr lang="en-US" sz="1800" b="1"/>
              <a:t>Learning Initiatives with Staff Teams</a:t>
            </a:r>
            <a:br>
              <a:rPr lang="en-US" sz="1800" b="1" dirty="0"/>
            </a:br>
            <a:r>
              <a:rPr lang="en-US" sz="1800" b="1" dirty="0"/>
              <a:t>2:00pm EST</a:t>
            </a:r>
            <a:br>
              <a:rPr lang="en-US" sz="3200" b="1" dirty="0"/>
            </a:br>
            <a:endParaRPr lang="en-US" sz="3200" b="1" dirty="0"/>
          </a:p>
          <a:p>
            <a:r>
              <a:rPr lang="en-US" dirty="0"/>
              <a:t>To learn more about additional resources and training available to support the transition to Distance Learning please visit: </a:t>
            </a:r>
            <a:r>
              <a:rPr lang="en-US" b="1" u="sng" dirty="0">
                <a:solidFill>
                  <a:srgbClr val="005EB8"/>
                </a:solidFill>
              </a:rPr>
              <a:t>mimio.boxlight.com/together/ </a:t>
            </a:r>
          </a:p>
          <a:p>
            <a:endParaRPr lang="en-US" dirty="0"/>
          </a:p>
          <a:p>
            <a:r>
              <a:rPr lang="en-US" dirty="0"/>
              <a:t>Krista Walker</a:t>
            </a:r>
          </a:p>
          <a:p>
            <a:r>
              <a:rPr lang="en-US" dirty="0"/>
              <a:t>krista.walker@boxlight.com</a:t>
            </a:r>
          </a:p>
          <a:p>
            <a:endParaRPr lang="en-US" sz="1400" dirty="0">
              <a:solidFill>
                <a:srgbClr val="0070C0"/>
              </a:solidFill>
            </a:endParaRPr>
          </a:p>
        </p:txBody>
      </p:sp>
      <p:pic>
        <p:nvPicPr>
          <p:cNvPr id="7" name="Picture 6">
            <a:extLst>
              <a:ext uri="{FF2B5EF4-FFF2-40B4-BE49-F238E27FC236}">
                <a16:creationId xmlns:a16="http://schemas.microsoft.com/office/drawing/2014/main" id="{620E99C9-78DE-4831-8FFA-644F71CFB260}"/>
              </a:ext>
            </a:extLst>
          </p:cNvPr>
          <p:cNvPicPr>
            <a:picLocks noChangeAspect="1"/>
          </p:cNvPicPr>
          <p:nvPr/>
        </p:nvPicPr>
        <p:blipFill>
          <a:blip r:embed="rId3"/>
          <a:stretch>
            <a:fillRect/>
          </a:stretch>
        </p:blipFill>
        <p:spPr>
          <a:xfrm>
            <a:off x="6352396" y="2400458"/>
            <a:ext cx="5610226" cy="2057083"/>
          </a:xfrm>
          <a:prstGeom prst="rect">
            <a:avLst/>
          </a:prstGeom>
        </p:spPr>
      </p:pic>
    </p:spTree>
    <p:extLst>
      <p:ext uri="{BB962C8B-B14F-4D97-AF65-F5344CB8AC3E}">
        <p14:creationId xmlns:p14="http://schemas.microsoft.com/office/powerpoint/2010/main" val="45192146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280" dirty="0"/>
              <a:t>Empower students in a Remote Classroom</a:t>
            </a:r>
            <a:br>
              <a:rPr lang="en-US" sz="5280" dirty="0"/>
            </a:br>
            <a:br>
              <a:rPr lang="en-US" sz="5280" dirty="0"/>
            </a:br>
            <a:endParaRPr lang="en-US" sz="5280" dirty="0"/>
          </a:p>
        </p:txBody>
      </p:sp>
      <p:pic>
        <p:nvPicPr>
          <p:cNvPr id="16" name="Picture 15" descr="Sataya Nadella talking to a group of students"/>
          <p:cNvPicPr>
            <a:picLocks noChangeAspect="1"/>
          </p:cNvPicPr>
          <p:nvPr/>
        </p:nvPicPr>
        <p:blipFill>
          <a:blip r:embed="rId3"/>
          <a:stretch>
            <a:fillRect/>
          </a:stretch>
        </p:blipFill>
        <p:spPr>
          <a:xfrm>
            <a:off x="6096762" y="3003"/>
            <a:ext cx="6095238" cy="6857143"/>
          </a:xfrm>
          <a:prstGeom prst="rect">
            <a:avLst/>
          </a:prstGeom>
        </p:spPr>
      </p:pic>
    </p:spTree>
    <p:extLst>
      <p:ext uri="{BB962C8B-B14F-4D97-AF65-F5344CB8AC3E}">
        <p14:creationId xmlns:p14="http://schemas.microsoft.com/office/powerpoint/2010/main" val="34541596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F440D71-D6DF-4E39-ABDB-CFD36214AB5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1527" y="0"/>
            <a:ext cx="6096000" cy="6858000"/>
          </a:xfrm>
          <a:prstGeom prst="rect">
            <a:avLst/>
          </a:prstGeom>
        </p:spPr>
      </p:pic>
      <p:sp>
        <p:nvSpPr>
          <p:cNvPr id="2" name="Title 1"/>
          <p:cNvSpPr>
            <a:spLocks noGrp="1"/>
          </p:cNvSpPr>
          <p:nvPr>
            <p:ph type="title"/>
          </p:nvPr>
        </p:nvSpPr>
        <p:spPr>
          <a:xfrm>
            <a:off x="7195612" y="-15551"/>
            <a:ext cx="3922662" cy="1822963"/>
          </a:xfrm>
        </p:spPr>
        <p:txBody>
          <a:bodyPr>
            <a:normAutofit/>
          </a:bodyPr>
          <a:lstStyle/>
          <a:p>
            <a:pPr algn="ctr"/>
            <a:r>
              <a:rPr lang="en-US" sz="5400" spc="-100" dirty="0">
                <a:ln w="3175">
                  <a:noFill/>
                </a:ln>
                <a:solidFill>
                  <a:schemeClr val="tx1"/>
                </a:solidFill>
                <a:ea typeface="+mn-ea"/>
                <a:cs typeface="Segoe UI Light" panose="020B0502040204020203" pitchFamily="34" charset="0"/>
              </a:rPr>
              <a:t>Overview</a:t>
            </a:r>
          </a:p>
        </p:txBody>
      </p:sp>
      <p:sp>
        <p:nvSpPr>
          <p:cNvPr id="6" name="TextBox 5" descr="students talking at a table"/>
          <p:cNvSpPr txBox="1"/>
          <p:nvPr/>
        </p:nvSpPr>
        <p:spPr>
          <a:xfrm>
            <a:off x="506630" y="3867151"/>
            <a:ext cx="3599676" cy="2905205"/>
          </a:xfrm>
          <a:prstGeom prst="rect">
            <a:avLst/>
          </a:prstGeom>
        </p:spPr>
        <p:txBody>
          <a:bodyPr vert="horz" wrap="square" lIns="0" tIns="0" rIns="0" bIns="0" rtlCol="0" anchor="t">
            <a:noAutofit/>
          </a:bodyPr>
          <a:lstStyle/>
          <a:p>
            <a:pPr>
              <a:buClr>
                <a:schemeClr val="accent4"/>
              </a:buClr>
            </a:pPr>
            <a:endParaRPr lang="en-US" dirty="0">
              <a:latin typeface="Segoe UI Semilight" panose="020B0402040204020203" pitchFamily="34" charset="0"/>
              <a:ea typeface="Segoe UI" pitchFamily="34" charset="0"/>
              <a:cs typeface="Segoe UI Semilight" panose="020B0402040204020203" pitchFamily="34" charset="0"/>
            </a:endParaRPr>
          </a:p>
        </p:txBody>
      </p:sp>
      <p:sp>
        <p:nvSpPr>
          <p:cNvPr id="9" name="Rectangle 8">
            <a:extLst>
              <a:ext uri="{FF2B5EF4-FFF2-40B4-BE49-F238E27FC236}">
                <a16:creationId xmlns:a16="http://schemas.microsoft.com/office/drawing/2014/main" id="{1F20B988-65DE-4B9A-999B-14DBDE13CF4B}"/>
              </a:ext>
            </a:extLst>
          </p:cNvPr>
          <p:cNvSpPr/>
          <p:nvPr/>
        </p:nvSpPr>
        <p:spPr>
          <a:xfrm>
            <a:off x="6426688" y="1112123"/>
            <a:ext cx="5460511" cy="5510055"/>
          </a:xfrm>
          <a:prstGeom prst="rect">
            <a:avLst/>
          </a:prstGeom>
          <a:solidFill>
            <a:srgbClr val="B4019E">
              <a:alpha val="8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78" tIns="91438" rIns="182878" bIns="91438" numCol="1" spcCol="0" rtlCol="0" fromWordArt="0" anchor="t" anchorCtr="0" forceAA="0" compatLnSpc="1">
            <a:prstTxWarp prst="textNoShape">
              <a:avLst/>
            </a:prstTxWarp>
            <a:noAutofit/>
          </a:bodyPr>
          <a:lstStyle/>
          <a:p>
            <a:pPr marL="285750" indent="-285750">
              <a:spcAft>
                <a:spcPts val="600"/>
              </a:spcAft>
              <a:buClr>
                <a:schemeClr val="tx1"/>
              </a:buClr>
              <a:buFont typeface="Wingdings" panose="05000000000000000000" pitchFamily="2" charset="2"/>
              <a:buChar char="Ø"/>
            </a:pPr>
            <a:r>
              <a:rPr lang="en-US" dirty="0"/>
              <a:t>Access Class Notebook in Teams</a:t>
            </a:r>
          </a:p>
          <a:p>
            <a:pPr marL="285750" indent="-285750">
              <a:spcAft>
                <a:spcPts val="600"/>
              </a:spcAft>
              <a:buClr>
                <a:schemeClr val="tx1"/>
              </a:buClr>
              <a:buFont typeface="Wingdings" panose="05000000000000000000" pitchFamily="2" charset="2"/>
              <a:buChar char="Ø"/>
            </a:pPr>
            <a:endParaRPr lang="en-US" dirty="0"/>
          </a:p>
          <a:p>
            <a:pPr marL="285750" indent="-285750">
              <a:spcAft>
                <a:spcPts val="600"/>
              </a:spcAft>
              <a:buClr>
                <a:schemeClr val="tx1"/>
              </a:buClr>
              <a:buFont typeface="Wingdings" panose="05000000000000000000" pitchFamily="2" charset="2"/>
              <a:buChar char="Ø"/>
            </a:pPr>
            <a:r>
              <a:rPr lang="en-US" dirty="0"/>
              <a:t>Anatomy of a Class Notebook</a:t>
            </a:r>
          </a:p>
          <a:p>
            <a:pPr marL="285750" indent="-285750">
              <a:spcAft>
                <a:spcPts val="600"/>
              </a:spcAft>
              <a:buClr>
                <a:schemeClr val="tx1"/>
              </a:buClr>
              <a:buFont typeface="Wingdings" panose="05000000000000000000" pitchFamily="2" charset="2"/>
              <a:buChar char="Ø"/>
            </a:pPr>
            <a:endParaRPr lang="en-US" dirty="0"/>
          </a:p>
          <a:p>
            <a:pPr marL="285750" indent="-285750">
              <a:spcAft>
                <a:spcPts val="600"/>
              </a:spcAft>
              <a:buClr>
                <a:schemeClr val="tx1"/>
              </a:buClr>
              <a:buFont typeface="Wingdings" panose="05000000000000000000" pitchFamily="2" charset="2"/>
              <a:buChar char="Ø"/>
            </a:pPr>
            <a:r>
              <a:rPr lang="en-US" dirty="0"/>
              <a:t>Manage Notebooks</a:t>
            </a:r>
          </a:p>
          <a:p>
            <a:pPr marL="285750" indent="-285750">
              <a:spcAft>
                <a:spcPts val="600"/>
              </a:spcAft>
              <a:buClr>
                <a:schemeClr val="tx1"/>
              </a:buClr>
              <a:buFont typeface="Wingdings" panose="05000000000000000000" pitchFamily="2" charset="2"/>
              <a:buChar char="Ø"/>
            </a:pPr>
            <a:endParaRPr lang="en-US" dirty="0"/>
          </a:p>
          <a:p>
            <a:pPr marL="285750" indent="-285750">
              <a:spcAft>
                <a:spcPts val="600"/>
              </a:spcAft>
              <a:buClr>
                <a:schemeClr val="tx1"/>
              </a:buClr>
              <a:buFont typeface="Wingdings" panose="05000000000000000000" pitchFamily="2" charset="2"/>
              <a:buChar char="Ø"/>
            </a:pPr>
            <a:r>
              <a:rPr lang="en-US" dirty="0"/>
              <a:t>Things to Do</a:t>
            </a:r>
          </a:p>
          <a:p>
            <a:pPr marL="285750" indent="-285750">
              <a:spcAft>
                <a:spcPts val="600"/>
              </a:spcAft>
              <a:buClr>
                <a:schemeClr val="tx1"/>
              </a:buClr>
              <a:buFont typeface="Wingdings" panose="05000000000000000000" pitchFamily="2" charset="2"/>
              <a:buChar char="Ø"/>
            </a:pPr>
            <a:endParaRPr lang="en-US" dirty="0"/>
          </a:p>
          <a:p>
            <a:pPr marL="285750" indent="-285750">
              <a:spcAft>
                <a:spcPts val="600"/>
              </a:spcAft>
              <a:buClr>
                <a:schemeClr val="tx1"/>
              </a:buClr>
              <a:buFont typeface="Wingdings" panose="05000000000000000000" pitchFamily="2" charset="2"/>
              <a:buChar char="Ø"/>
            </a:pPr>
            <a:r>
              <a:rPr lang="en-US" dirty="0"/>
              <a:t>Organizing and Adding Content</a:t>
            </a:r>
          </a:p>
          <a:p>
            <a:pPr marL="285750" indent="-285750">
              <a:spcAft>
                <a:spcPts val="600"/>
              </a:spcAft>
              <a:buClr>
                <a:schemeClr val="tx1"/>
              </a:buClr>
              <a:buFont typeface="Wingdings" panose="05000000000000000000" pitchFamily="2" charset="2"/>
              <a:buChar char="Ø"/>
            </a:pPr>
            <a:endParaRPr lang="en-US" dirty="0"/>
          </a:p>
          <a:p>
            <a:pPr marL="285750" indent="-285750">
              <a:spcAft>
                <a:spcPts val="600"/>
              </a:spcAft>
              <a:buClr>
                <a:schemeClr val="tx1"/>
              </a:buClr>
              <a:buFont typeface="Wingdings" panose="05000000000000000000" pitchFamily="2" charset="2"/>
              <a:buChar char="Ø"/>
            </a:pPr>
            <a:r>
              <a:rPr lang="en-US" dirty="0"/>
              <a:t>Distribute Content to Students</a:t>
            </a:r>
          </a:p>
          <a:p>
            <a:pPr marL="285750" indent="-285750">
              <a:spcAft>
                <a:spcPts val="600"/>
              </a:spcAft>
              <a:buClr>
                <a:schemeClr val="tx1"/>
              </a:buClr>
              <a:buFont typeface="Wingdings" panose="05000000000000000000" pitchFamily="2" charset="2"/>
              <a:buChar char="Ø"/>
            </a:pPr>
            <a:endParaRPr lang="en-US" dirty="0"/>
          </a:p>
          <a:p>
            <a:pPr marL="285750" indent="-285750">
              <a:spcAft>
                <a:spcPts val="600"/>
              </a:spcAft>
              <a:buClr>
                <a:schemeClr val="tx1"/>
              </a:buClr>
              <a:buFont typeface="Wingdings" panose="05000000000000000000" pitchFamily="2" charset="2"/>
              <a:buChar char="Ø"/>
            </a:pPr>
            <a:r>
              <a:rPr lang="en-US" dirty="0"/>
              <a:t>Student Collaboration</a:t>
            </a:r>
          </a:p>
          <a:p>
            <a:pPr marL="285750" indent="-285750">
              <a:spcAft>
                <a:spcPts val="600"/>
              </a:spcAft>
              <a:buClr>
                <a:schemeClr val="tx1"/>
              </a:buClr>
              <a:buFont typeface="Wingdings" panose="05000000000000000000" pitchFamily="2" charset="2"/>
              <a:buChar char="Ø"/>
            </a:pPr>
            <a:endParaRPr lang="en-US" dirty="0"/>
          </a:p>
          <a:p>
            <a:pPr marL="285750" indent="-285750">
              <a:spcAft>
                <a:spcPts val="600"/>
              </a:spcAft>
              <a:buClr>
                <a:schemeClr val="tx1"/>
              </a:buClr>
              <a:buFont typeface="Wingdings" panose="05000000000000000000" pitchFamily="2" charset="2"/>
              <a:buChar char="Ø"/>
            </a:pPr>
            <a:r>
              <a:rPr lang="en-US" dirty="0"/>
              <a:t>Review Work and Give Feedback</a:t>
            </a:r>
          </a:p>
          <a:p>
            <a:pPr marL="285750" indent="-285750">
              <a:spcAft>
                <a:spcPts val="600"/>
              </a:spcAft>
              <a:buClr>
                <a:schemeClr val="accent4"/>
              </a:buClr>
              <a:buFont typeface="Wingdings" panose="05000000000000000000" pitchFamily="2" charset="2"/>
              <a:buChar char="Ø"/>
            </a:pPr>
            <a:endParaRPr lang="en-US" dirty="0"/>
          </a:p>
          <a:p>
            <a:pPr>
              <a:spcAft>
                <a:spcPts val="600"/>
              </a:spcAft>
              <a:buClr>
                <a:schemeClr val="accent4"/>
              </a:buClr>
            </a:pPr>
            <a:endParaRPr lang="en-US" dirty="0"/>
          </a:p>
          <a:p>
            <a:pPr>
              <a:spcAft>
                <a:spcPts val="600"/>
              </a:spcAft>
              <a:buClr>
                <a:schemeClr val="accent4"/>
              </a:buClr>
            </a:pPr>
            <a:endParaRPr lang="en-US" dirty="0"/>
          </a:p>
          <a:p>
            <a:pPr>
              <a:spcAft>
                <a:spcPts val="600"/>
              </a:spcAft>
              <a:buClr>
                <a:schemeClr val="accent4"/>
              </a:buClr>
            </a:pPr>
            <a:endParaRPr lang="en-US" sz="2000" b="1" dirty="0">
              <a:solidFill>
                <a:schemeClr val="tx1"/>
              </a:solidFill>
              <a:latin typeface="Segoe UI Semilight" panose="020B0402040204020203" pitchFamily="34" charset="0"/>
              <a:ea typeface="Segoe UI" pitchFamily="34" charset="0"/>
              <a:cs typeface="Segoe UI Semilight" panose="020B0402040204020203" pitchFamily="34" charset="0"/>
            </a:endParaRPr>
          </a:p>
          <a:p>
            <a:pPr>
              <a:spcAft>
                <a:spcPts val="600"/>
              </a:spcAft>
              <a:buClr>
                <a:schemeClr val="accent4"/>
              </a:buClr>
            </a:pPr>
            <a:endParaRPr lang="en-US" sz="2000" b="1" dirty="0">
              <a:solidFill>
                <a:schemeClr val="tx1"/>
              </a:solidFill>
              <a:latin typeface="Segoe UI Semilight" panose="020B0402040204020203" pitchFamily="34" charset="0"/>
              <a:ea typeface="Segoe UI" pitchFamily="34" charset="0"/>
              <a:cs typeface="Segoe UI Semilight" panose="020B0402040204020203" pitchFamily="34" charset="0"/>
            </a:endParaRPr>
          </a:p>
        </p:txBody>
      </p:sp>
    </p:spTree>
    <p:extLst>
      <p:ext uri="{BB962C8B-B14F-4D97-AF65-F5344CB8AC3E}">
        <p14:creationId xmlns:p14="http://schemas.microsoft.com/office/powerpoint/2010/main" val="15508518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Teams:  A Digital Hub </a:t>
            </a:r>
          </a:p>
        </p:txBody>
      </p:sp>
      <p:sp>
        <p:nvSpPr>
          <p:cNvPr id="7" name="Content Placeholder 6"/>
          <p:cNvSpPr>
            <a:spLocks noGrp="1"/>
          </p:cNvSpPr>
          <p:nvPr>
            <p:ph sz="quarter" idx="13"/>
          </p:nvPr>
        </p:nvSpPr>
        <p:spPr>
          <a:xfrm>
            <a:off x="381293" y="1561184"/>
            <a:ext cx="3733507" cy="4931036"/>
          </a:xfrm>
        </p:spPr>
        <p:txBody>
          <a:bodyPr/>
          <a:lstStyle/>
          <a:p>
            <a:r>
              <a:rPr lang="en-US" sz="3200" dirty="0">
                <a:latin typeface="Segoe UI Semilight" panose="020B0402040204020203" pitchFamily="34" charset="0"/>
                <a:cs typeface="Segoe UI Semilight" panose="020B0402040204020203" pitchFamily="34" charset="0"/>
              </a:rPr>
              <a:t>Create more collaborative learning experiences with Microsoft Teams</a:t>
            </a:r>
          </a:p>
        </p:txBody>
      </p:sp>
      <p:pic>
        <p:nvPicPr>
          <p:cNvPr id="2052" name="Picture 4" descr="picture of a Teams site on Office 365"/>
          <p:cNvPicPr>
            <a:picLocks noGrp="1" noChangeAspect="1" noChangeArrowheads="1"/>
          </p:cNvPicPr>
          <p:nvPr>
            <p:ph type="pic" sz="quarter" idx="14"/>
          </p:nvPr>
        </p:nvPicPr>
        <p:blipFill>
          <a:blip r:embed="rId3">
            <a:extLst>
              <a:ext uri="{28A0092B-C50C-407E-A947-70E740481C1C}">
                <a14:useLocalDpi xmlns:a14="http://schemas.microsoft.com/office/drawing/2010/main" val="0"/>
              </a:ext>
            </a:extLst>
          </a:blip>
          <a:srcRect l="7817" r="7817"/>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picture of a Teams site on Office 36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50688" y="2178958"/>
            <a:ext cx="7041311" cy="469420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close up of a sign&#10;&#10;Description automatically generated">
            <a:extLst>
              <a:ext uri="{FF2B5EF4-FFF2-40B4-BE49-F238E27FC236}">
                <a16:creationId xmlns:a16="http://schemas.microsoft.com/office/drawing/2014/main" id="{DF38F332-480A-45C4-AB35-7803A310012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2500" y="4076700"/>
            <a:ext cx="1866900" cy="18669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374451689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6CC66-7763-4F14-B482-565E51F0091F}"/>
              </a:ext>
            </a:extLst>
          </p:cNvPr>
          <p:cNvSpPr>
            <a:spLocks noGrp="1"/>
          </p:cNvSpPr>
          <p:nvPr>
            <p:ph type="title"/>
          </p:nvPr>
        </p:nvSpPr>
        <p:spPr/>
        <p:txBody>
          <a:bodyPr/>
          <a:lstStyle/>
          <a:p>
            <a:r>
              <a:rPr lang="en-US" sz="4000" dirty="0"/>
              <a:t>Class Notebook in Teams</a:t>
            </a:r>
          </a:p>
        </p:txBody>
      </p:sp>
      <p:sp>
        <p:nvSpPr>
          <p:cNvPr id="5" name="TextBox 4">
            <a:extLst>
              <a:ext uri="{FF2B5EF4-FFF2-40B4-BE49-F238E27FC236}">
                <a16:creationId xmlns:a16="http://schemas.microsoft.com/office/drawing/2014/main" id="{F292AE70-BBDA-4365-A2F3-EF27A10DF326}"/>
              </a:ext>
            </a:extLst>
          </p:cNvPr>
          <p:cNvSpPr txBox="1"/>
          <p:nvPr/>
        </p:nvSpPr>
        <p:spPr>
          <a:xfrm>
            <a:off x="495300" y="1714500"/>
            <a:ext cx="6634064" cy="3728328"/>
          </a:xfrm>
          <a:prstGeom prst="rect">
            <a:avLst/>
          </a:prstGeom>
          <a:noFill/>
        </p:spPr>
        <p:txBody>
          <a:bodyPr wrap="square">
            <a:spAutoFit/>
          </a:bodyPr>
          <a:lstStyle/>
          <a:p>
            <a:pPr marL="342900" indent="-342900">
              <a:lnSpc>
                <a:spcPct val="150000"/>
              </a:lnSpc>
              <a:buFont typeface="Wingdings" panose="05000000000000000000" pitchFamily="2" charset="2"/>
              <a:buChar char="Ø"/>
            </a:pPr>
            <a:r>
              <a:rPr lang="en-US" sz="2000" dirty="0">
                <a:solidFill>
                  <a:schemeClr val="bg1"/>
                </a:solidFill>
              </a:rPr>
              <a:t>Acts like a digital binder to help organize content</a:t>
            </a:r>
          </a:p>
          <a:p>
            <a:pPr marL="342900" indent="-342900">
              <a:lnSpc>
                <a:spcPct val="150000"/>
              </a:lnSpc>
              <a:buFont typeface="Wingdings" panose="05000000000000000000" pitchFamily="2" charset="2"/>
              <a:buChar char="Ø"/>
            </a:pPr>
            <a:r>
              <a:rPr lang="en-US" sz="2000" dirty="0">
                <a:solidFill>
                  <a:schemeClr val="bg1"/>
                </a:solidFill>
              </a:rPr>
              <a:t>Provides students a venue to explore, discuss, practice, and explain</a:t>
            </a:r>
          </a:p>
          <a:p>
            <a:pPr marL="342900" indent="-342900">
              <a:lnSpc>
                <a:spcPct val="150000"/>
              </a:lnSpc>
              <a:buFont typeface="Wingdings" panose="05000000000000000000" pitchFamily="2" charset="2"/>
              <a:buChar char="Ø"/>
            </a:pPr>
            <a:r>
              <a:rPr lang="en-US" sz="2000" dirty="0">
                <a:solidFill>
                  <a:schemeClr val="bg1"/>
                </a:solidFill>
              </a:rPr>
              <a:t>Digitized environment for engagement</a:t>
            </a:r>
          </a:p>
          <a:p>
            <a:pPr marL="342900" indent="-342900">
              <a:lnSpc>
                <a:spcPct val="150000"/>
              </a:lnSpc>
              <a:buFont typeface="Wingdings" panose="05000000000000000000" pitchFamily="2" charset="2"/>
              <a:buChar char="Ø"/>
            </a:pPr>
            <a:r>
              <a:rPr lang="en-US" sz="2000" dirty="0">
                <a:solidFill>
                  <a:schemeClr val="bg1"/>
                </a:solidFill>
              </a:rPr>
              <a:t>Opportunities for communication and feedback</a:t>
            </a:r>
          </a:p>
          <a:p>
            <a:pPr marL="342900" indent="-342900">
              <a:lnSpc>
                <a:spcPct val="150000"/>
              </a:lnSpc>
              <a:buFont typeface="Wingdings" panose="05000000000000000000" pitchFamily="2" charset="2"/>
              <a:buChar char="Ø"/>
            </a:pPr>
            <a:r>
              <a:rPr lang="en-US" sz="2000" dirty="0">
                <a:solidFill>
                  <a:schemeClr val="bg1"/>
                </a:solidFill>
              </a:rPr>
              <a:t>Collaborate in Channel Notes and Notebook</a:t>
            </a:r>
          </a:p>
          <a:p>
            <a:pPr marL="342900" indent="-342900">
              <a:lnSpc>
                <a:spcPct val="150000"/>
              </a:lnSpc>
              <a:buFont typeface="Wingdings" panose="05000000000000000000" pitchFamily="2" charset="2"/>
              <a:buChar char="Ø"/>
            </a:pPr>
            <a:r>
              <a:rPr lang="en-US" sz="2000" dirty="0">
                <a:solidFill>
                  <a:schemeClr val="bg1"/>
                </a:solidFill>
              </a:rPr>
              <a:t>Easily Review student contributions and work</a:t>
            </a:r>
            <a:br>
              <a:rPr lang="en-US" sz="2000" dirty="0">
                <a:solidFill>
                  <a:schemeClr val="bg1"/>
                </a:solidFill>
              </a:rPr>
            </a:br>
            <a:endParaRPr lang="en-US" sz="2000" dirty="0">
              <a:solidFill>
                <a:schemeClr val="bg1"/>
              </a:solidFill>
            </a:endParaRPr>
          </a:p>
        </p:txBody>
      </p:sp>
      <p:pic>
        <p:nvPicPr>
          <p:cNvPr id="15" name="Picture 14" descr="A person using a computer&#10;&#10;Description automatically generated">
            <a:extLst>
              <a:ext uri="{FF2B5EF4-FFF2-40B4-BE49-F238E27FC236}">
                <a16:creationId xmlns:a16="http://schemas.microsoft.com/office/drawing/2014/main" id="{B9EBF502-205D-4206-ACF6-0DF851E82932}"/>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819900" y="2000250"/>
            <a:ext cx="5087216" cy="2857500"/>
          </a:xfrm>
          <a:prstGeom prst="rect">
            <a:avLst/>
          </a:prstGeom>
          <a:solidFill>
            <a:srgbClr val="FFFFFF">
              <a:shade val="85000"/>
            </a:srgbClr>
          </a:solidFill>
          <a:ln w="190500" cap="rnd">
            <a:solidFill>
              <a:srgbClr val="FFFFFF"/>
            </a:solidFill>
          </a:ln>
          <a:effectLst>
            <a:outerShdw blurRad="36195" dist="12700" dir="11400000" algn="tl" rotWithShape="0">
              <a:srgbClr val="000000">
                <a:alpha val="33000"/>
              </a:srgbClr>
            </a:outerShdw>
          </a:effectLst>
          <a:scene3d>
            <a:camera prst="perspectiveContrastingLeftFacing">
              <a:rot lat="540000" lon="2100000" rev="0"/>
            </a:camera>
            <a:lightRig rig="soft" dir="t"/>
          </a:scene3d>
          <a:sp3d contourW="12700" prstMaterial="matte">
            <a:bevelT w="63500" h="50800"/>
            <a:contourClr>
              <a:srgbClr val="C0C0C0"/>
            </a:contourClr>
          </a:sp3d>
        </p:spPr>
      </p:pic>
    </p:spTree>
    <p:extLst>
      <p:ext uri="{BB962C8B-B14F-4D97-AF65-F5344CB8AC3E}">
        <p14:creationId xmlns:p14="http://schemas.microsoft.com/office/powerpoint/2010/main" val="218360348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0621BF5-1505-3C4C-A5FE-903CC55DDF30}"/>
              </a:ext>
            </a:extLst>
          </p:cNvPr>
          <p:cNvSpPr>
            <a:spLocks noGrp="1"/>
          </p:cNvSpPr>
          <p:nvPr>
            <p:ph type="body" sz="quarter" idx="14"/>
          </p:nvPr>
        </p:nvSpPr>
        <p:spPr/>
        <p:txBody>
          <a:bodyPr/>
          <a:lstStyle/>
          <a:p>
            <a:r>
              <a:rPr lang="en-US"/>
              <a:t>Web UI with highlight</a:t>
            </a:r>
          </a:p>
        </p:txBody>
      </p:sp>
      <p:sp>
        <p:nvSpPr>
          <p:cNvPr id="18" name="Rectangle 17">
            <a:extLst>
              <a:ext uri="{FF2B5EF4-FFF2-40B4-BE49-F238E27FC236}">
                <a16:creationId xmlns:a16="http://schemas.microsoft.com/office/drawing/2014/main" id="{344ED62C-7FBB-7C4E-B9DD-D0B37B640184}"/>
              </a:ext>
            </a:extLst>
          </p:cNvPr>
          <p:cNvSpPr/>
          <p:nvPr/>
        </p:nvSpPr>
        <p:spPr>
          <a:xfrm>
            <a:off x="0" y="0"/>
            <a:ext cx="12192000" cy="1169043"/>
          </a:xfrm>
          <a:prstGeom prst="rect">
            <a:avLst/>
          </a:prstGeom>
          <a:solidFill>
            <a:srgbClr val="B401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2">
            <a:extLst>
              <a:ext uri="{FF2B5EF4-FFF2-40B4-BE49-F238E27FC236}">
                <a16:creationId xmlns:a16="http://schemas.microsoft.com/office/drawing/2014/main" id="{ED772027-5015-4946-921A-7B97EF750A71}"/>
              </a:ext>
            </a:extLst>
          </p:cNvPr>
          <p:cNvSpPr txBox="1">
            <a:spLocks/>
          </p:cNvSpPr>
          <p:nvPr/>
        </p:nvSpPr>
        <p:spPr>
          <a:xfrm>
            <a:off x="838199" y="29496"/>
            <a:ext cx="10061575" cy="1139547"/>
          </a:xfrm>
          <a:prstGeom prst="rect">
            <a:avLst/>
          </a:prstGeom>
        </p:spPr>
        <p:txBody>
          <a:bodyPr lIns="0" rIns="0" anchor="ctr"/>
          <a:lstStyle>
            <a:lvl1pPr marL="0" indent="0" algn="l" defTabSz="914400" rtl="0" eaLnBrk="1" latinLnBrk="0" hangingPunct="1">
              <a:lnSpc>
                <a:spcPct val="90000"/>
              </a:lnSpc>
              <a:spcBef>
                <a:spcPts val="1000"/>
              </a:spcBef>
              <a:buFontTx/>
              <a:buNone/>
              <a:defRPr sz="3600" b="1" i="0" kern="1200">
                <a:solidFill>
                  <a:schemeClr val="bg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0" dirty="0">
                <a:latin typeface="+mn-lt"/>
              </a:rPr>
              <a:t>Log Into office.com</a:t>
            </a:r>
          </a:p>
        </p:txBody>
      </p:sp>
      <p:pic>
        <p:nvPicPr>
          <p:cNvPr id="15" name="Picture 14">
            <a:extLst>
              <a:ext uri="{FF2B5EF4-FFF2-40B4-BE49-F238E27FC236}">
                <a16:creationId xmlns:a16="http://schemas.microsoft.com/office/drawing/2014/main" id="{91D50C9E-8BBC-44F5-8E98-039BCD4924B3}"/>
              </a:ext>
            </a:extLst>
          </p:cNvPr>
          <p:cNvPicPr>
            <a:picLocks noChangeAspect="1"/>
          </p:cNvPicPr>
          <p:nvPr/>
        </p:nvPicPr>
        <p:blipFill>
          <a:blip r:embed="rId3"/>
          <a:stretch>
            <a:fillRect/>
          </a:stretch>
        </p:blipFill>
        <p:spPr>
          <a:xfrm>
            <a:off x="4597276" y="3429000"/>
            <a:ext cx="6705600" cy="3375490"/>
          </a:xfrm>
          <a:prstGeom prst="rect">
            <a:avLst/>
          </a:prstGeom>
        </p:spPr>
      </p:pic>
      <p:pic>
        <p:nvPicPr>
          <p:cNvPr id="16" name="Picture 4">
            <a:extLst>
              <a:ext uri="{FF2B5EF4-FFF2-40B4-BE49-F238E27FC236}">
                <a16:creationId xmlns:a16="http://schemas.microsoft.com/office/drawing/2014/main" id="{81CABA98-06F8-4FED-A4B2-45CA3656432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426" y="1360318"/>
            <a:ext cx="7126650" cy="1950452"/>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BC2EFF52-9F6B-4A73-B533-28446959FE5C}"/>
              </a:ext>
            </a:extLst>
          </p:cNvPr>
          <p:cNvSpPr/>
          <p:nvPr/>
        </p:nvSpPr>
        <p:spPr>
          <a:xfrm>
            <a:off x="5281126" y="2003773"/>
            <a:ext cx="876300" cy="8382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97406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0621BF5-1505-3C4C-A5FE-903CC55DDF30}"/>
              </a:ext>
            </a:extLst>
          </p:cNvPr>
          <p:cNvSpPr>
            <a:spLocks noGrp="1"/>
          </p:cNvSpPr>
          <p:nvPr>
            <p:ph type="body" sz="quarter" idx="14"/>
          </p:nvPr>
        </p:nvSpPr>
        <p:spPr/>
        <p:txBody>
          <a:bodyPr/>
          <a:lstStyle/>
          <a:p>
            <a:r>
              <a:rPr lang="en-US"/>
              <a:t>Web UI with highlight</a:t>
            </a:r>
          </a:p>
        </p:txBody>
      </p:sp>
      <p:sp>
        <p:nvSpPr>
          <p:cNvPr id="12" name="Content Placeholder 2">
            <a:extLst>
              <a:ext uri="{FF2B5EF4-FFF2-40B4-BE49-F238E27FC236}">
                <a16:creationId xmlns:a16="http://schemas.microsoft.com/office/drawing/2014/main" id="{B8490928-25F3-9E41-BA3B-BBB4058428D4}"/>
              </a:ext>
            </a:extLst>
          </p:cNvPr>
          <p:cNvSpPr txBox="1">
            <a:spLocks/>
          </p:cNvSpPr>
          <p:nvPr/>
        </p:nvSpPr>
        <p:spPr>
          <a:xfrm>
            <a:off x="4125512" y="6210733"/>
            <a:ext cx="3585882" cy="445168"/>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1800" kern="1200">
                <a:solidFill>
                  <a:schemeClr val="tx1">
                    <a:lumMod val="85000"/>
                    <a:lumOff val="15000"/>
                  </a:schemeClr>
                </a:solidFill>
                <a:latin typeface="+mn-lt"/>
                <a:ea typeface="+mn-ea"/>
                <a:cs typeface="+mn-cs"/>
              </a:defRPr>
            </a:lvl1pPr>
            <a:lvl2pPr marL="4572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2pPr>
            <a:lvl3pPr marL="6858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9144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4pPr>
            <a:lvl5pPr marL="11430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5pPr>
            <a:lvl6pPr marL="131286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148431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7pPr>
            <a:lvl8pPr marL="165735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8pPr>
            <a:lvl9pPr marL="1882775"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9pPr>
          </a:lstStyle>
          <a:p>
            <a:pPr marL="0" indent="0">
              <a:buNone/>
            </a:pPr>
            <a:endParaRPr lang="en-US" sz="1200"/>
          </a:p>
        </p:txBody>
      </p:sp>
      <p:sp>
        <p:nvSpPr>
          <p:cNvPr id="14" name="Rectangle 13">
            <a:extLst>
              <a:ext uri="{FF2B5EF4-FFF2-40B4-BE49-F238E27FC236}">
                <a16:creationId xmlns:a16="http://schemas.microsoft.com/office/drawing/2014/main" id="{8E408FA1-6F21-7A46-9C7C-2147CAAA07C2}"/>
              </a:ext>
            </a:extLst>
          </p:cNvPr>
          <p:cNvSpPr/>
          <p:nvPr/>
        </p:nvSpPr>
        <p:spPr>
          <a:xfrm>
            <a:off x="7810155" y="2413597"/>
            <a:ext cx="1474690" cy="6856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344ED62C-7FBB-7C4E-B9DD-D0B37B640184}"/>
              </a:ext>
            </a:extLst>
          </p:cNvPr>
          <p:cNvSpPr/>
          <p:nvPr/>
        </p:nvSpPr>
        <p:spPr>
          <a:xfrm>
            <a:off x="0" y="0"/>
            <a:ext cx="12192000" cy="1169043"/>
          </a:xfrm>
          <a:prstGeom prst="rect">
            <a:avLst/>
          </a:prstGeom>
          <a:solidFill>
            <a:srgbClr val="B401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2">
            <a:extLst>
              <a:ext uri="{FF2B5EF4-FFF2-40B4-BE49-F238E27FC236}">
                <a16:creationId xmlns:a16="http://schemas.microsoft.com/office/drawing/2014/main" id="{ED772027-5015-4946-921A-7B97EF750A71}"/>
              </a:ext>
            </a:extLst>
          </p:cNvPr>
          <p:cNvSpPr txBox="1">
            <a:spLocks/>
          </p:cNvSpPr>
          <p:nvPr/>
        </p:nvSpPr>
        <p:spPr>
          <a:xfrm>
            <a:off x="838199" y="29496"/>
            <a:ext cx="10061575" cy="1139547"/>
          </a:xfrm>
          <a:prstGeom prst="rect">
            <a:avLst/>
          </a:prstGeom>
        </p:spPr>
        <p:txBody>
          <a:bodyPr lIns="0" rIns="0" anchor="ctr"/>
          <a:lstStyle>
            <a:lvl1pPr marL="0" indent="0" algn="l" defTabSz="914400" rtl="0" eaLnBrk="1" latinLnBrk="0" hangingPunct="1">
              <a:lnSpc>
                <a:spcPct val="90000"/>
              </a:lnSpc>
              <a:spcBef>
                <a:spcPts val="1000"/>
              </a:spcBef>
              <a:buFontTx/>
              <a:buNone/>
              <a:defRPr sz="3600" b="1" i="0" kern="1200">
                <a:solidFill>
                  <a:schemeClr val="bg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0" dirty="0">
                <a:latin typeface="+mn-lt"/>
              </a:rPr>
              <a:t>Unpack a Notebook</a:t>
            </a:r>
          </a:p>
        </p:txBody>
      </p:sp>
      <p:sp>
        <p:nvSpPr>
          <p:cNvPr id="53" name="TextBox 52">
            <a:extLst>
              <a:ext uri="{FF2B5EF4-FFF2-40B4-BE49-F238E27FC236}">
                <a16:creationId xmlns:a16="http://schemas.microsoft.com/office/drawing/2014/main" id="{FDCE361D-B877-4947-8DB2-F87392959C9C}"/>
              </a:ext>
            </a:extLst>
          </p:cNvPr>
          <p:cNvSpPr txBox="1"/>
          <p:nvPr/>
        </p:nvSpPr>
        <p:spPr>
          <a:xfrm>
            <a:off x="1291088" y="2019300"/>
            <a:ext cx="3723587" cy="3970318"/>
          </a:xfrm>
          <a:prstGeom prst="rect">
            <a:avLst/>
          </a:prstGeom>
          <a:noFill/>
        </p:spPr>
        <p:txBody>
          <a:bodyPr wrap="square" rtlCol="0">
            <a:spAutoFit/>
          </a:bodyPr>
          <a:lstStyle/>
          <a:p>
            <a:pPr marL="342900" indent="-342900">
              <a:buAutoNum type="arabicPeriod"/>
            </a:pPr>
            <a:r>
              <a:rPr lang="en-US" dirty="0"/>
              <a:t>Select Class Notebook</a:t>
            </a:r>
          </a:p>
          <a:p>
            <a:pPr marL="342900" indent="-342900">
              <a:buAutoNum type="arabicPeriod"/>
            </a:pPr>
            <a:endParaRPr lang="en-US" dirty="0"/>
          </a:p>
          <a:p>
            <a:pPr marL="342900" indent="-342900">
              <a:buAutoNum type="arabicPeriod"/>
            </a:pPr>
            <a:endParaRPr lang="en-US" dirty="0"/>
          </a:p>
          <a:p>
            <a:pPr marL="342900" indent="-342900">
              <a:buAutoNum type="arabicPeriod"/>
            </a:pPr>
            <a:endParaRPr lang="en-US" dirty="0"/>
          </a:p>
          <a:p>
            <a:pPr marL="342900" indent="-342900">
              <a:buAutoNum type="arabicPeriod"/>
            </a:pPr>
            <a:endParaRPr lang="en-US" dirty="0"/>
          </a:p>
          <a:p>
            <a:pPr marL="342900" indent="-342900">
              <a:buAutoNum type="arabicPeriod"/>
            </a:pPr>
            <a:r>
              <a:rPr lang="en-US" dirty="0"/>
              <a:t>Set Up Class Notebook</a:t>
            </a:r>
          </a:p>
          <a:p>
            <a:pPr marL="342900" indent="-342900">
              <a:buAutoNum type="arabicPeriod"/>
            </a:pPr>
            <a:endParaRPr lang="en-US" dirty="0"/>
          </a:p>
          <a:p>
            <a:pPr marL="342900" indent="-342900">
              <a:buAutoNum type="arabicPeriod"/>
            </a:pPr>
            <a:endParaRPr lang="en-US" dirty="0"/>
          </a:p>
          <a:p>
            <a:pPr marL="342900" indent="-342900">
              <a:buAutoNum type="arabicPeriod"/>
            </a:pPr>
            <a:endParaRPr lang="en-US" dirty="0"/>
          </a:p>
          <a:p>
            <a:pPr marL="342900" indent="-342900">
              <a:buAutoNum type="arabicPeriod"/>
            </a:pPr>
            <a:endParaRPr lang="en-US" dirty="0"/>
          </a:p>
          <a:p>
            <a:pPr marL="342900" indent="-342900">
              <a:buAutoNum type="arabicPeriod"/>
            </a:pPr>
            <a:r>
              <a:rPr lang="en-US" dirty="0"/>
              <a:t>Organize Student Sections</a:t>
            </a:r>
          </a:p>
          <a:p>
            <a:pPr marL="342900" indent="-342900">
              <a:buAutoNum type="arabicPeriod"/>
            </a:pPr>
            <a:endParaRPr lang="en-US" dirty="0"/>
          </a:p>
          <a:p>
            <a:pPr marL="342900" indent="-342900">
              <a:buAutoNum type="arabicPeriod"/>
            </a:pPr>
            <a:endParaRPr lang="en-US" dirty="0"/>
          </a:p>
          <a:p>
            <a:pPr marL="342900" indent="-342900">
              <a:buAutoNum type="arabicPeriod"/>
            </a:pPr>
            <a:endParaRPr lang="en-US" dirty="0"/>
          </a:p>
        </p:txBody>
      </p:sp>
      <p:pic>
        <p:nvPicPr>
          <p:cNvPr id="66" name="Picture 65">
            <a:extLst>
              <a:ext uri="{FF2B5EF4-FFF2-40B4-BE49-F238E27FC236}">
                <a16:creationId xmlns:a16="http://schemas.microsoft.com/office/drawing/2014/main" id="{5D5E22D7-02E1-4521-B703-E7D0A3E3C400}"/>
              </a:ext>
            </a:extLst>
          </p:cNvPr>
          <p:cNvPicPr>
            <a:picLocks noChangeAspect="1"/>
          </p:cNvPicPr>
          <p:nvPr/>
        </p:nvPicPr>
        <p:blipFill>
          <a:blip r:embed="rId3">
            <a:clrChange>
              <a:clrFrom>
                <a:srgbClr val="F3F2F1"/>
              </a:clrFrom>
              <a:clrTo>
                <a:srgbClr val="F3F2F1">
                  <a:alpha val="0"/>
                </a:srgbClr>
              </a:clrTo>
            </a:clrChange>
          </a:blip>
          <a:stretch>
            <a:fillRect/>
          </a:stretch>
        </p:blipFill>
        <p:spPr>
          <a:xfrm>
            <a:off x="8156448" y="2363563"/>
            <a:ext cx="2256794" cy="2015190"/>
          </a:xfrm>
          <a:prstGeom prst="rect">
            <a:avLst/>
          </a:prstGeom>
        </p:spPr>
      </p:pic>
      <p:pic>
        <p:nvPicPr>
          <p:cNvPr id="67" name="Picture 66">
            <a:extLst>
              <a:ext uri="{FF2B5EF4-FFF2-40B4-BE49-F238E27FC236}">
                <a16:creationId xmlns:a16="http://schemas.microsoft.com/office/drawing/2014/main" id="{32E8F984-80A8-4C54-A01A-8E2354636FF8}"/>
              </a:ext>
            </a:extLst>
          </p:cNvPr>
          <p:cNvPicPr>
            <a:picLocks noChangeAspect="1"/>
          </p:cNvPicPr>
          <p:nvPr/>
        </p:nvPicPr>
        <p:blipFill>
          <a:blip r:embed="rId4"/>
          <a:stretch>
            <a:fillRect/>
          </a:stretch>
        </p:blipFill>
        <p:spPr>
          <a:xfrm>
            <a:off x="7316333" y="4508433"/>
            <a:ext cx="3937023" cy="2147468"/>
          </a:xfrm>
          <a:prstGeom prst="rect">
            <a:avLst/>
          </a:prstGeom>
        </p:spPr>
      </p:pic>
      <p:cxnSp>
        <p:nvCxnSpPr>
          <p:cNvPr id="68" name="Straight Arrow Connector 67">
            <a:extLst>
              <a:ext uri="{FF2B5EF4-FFF2-40B4-BE49-F238E27FC236}">
                <a16:creationId xmlns:a16="http://schemas.microsoft.com/office/drawing/2014/main" id="{39B51788-C3C3-47AF-ABB0-809466AF8D7A}"/>
              </a:ext>
            </a:extLst>
          </p:cNvPr>
          <p:cNvCxnSpPr/>
          <p:nvPr/>
        </p:nvCxnSpPr>
        <p:spPr>
          <a:xfrm>
            <a:off x="5167547" y="2137442"/>
            <a:ext cx="876686" cy="0"/>
          </a:xfrm>
          <a:prstGeom prst="straightConnector1">
            <a:avLst/>
          </a:prstGeom>
          <a:ln w="57150">
            <a:solidFill>
              <a:srgbClr val="505CCC"/>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C13F8B9F-93FC-41AA-9AF8-614A9286AAC7}"/>
              </a:ext>
            </a:extLst>
          </p:cNvPr>
          <p:cNvCxnSpPr/>
          <p:nvPr/>
        </p:nvCxnSpPr>
        <p:spPr>
          <a:xfrm>
            <a:off x="5167547" y="3541594"/>
            <a:ext cx="876686" cy="0"/>
          </a:xfrm>
          <a:prstGeom prst="straightConnector1">
            <a:avLst/>
          </a:prstGeom>
          <a:ln w="57150">
            <a:solidFill>
              <a:srgbClr val="505CCC"/>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CF16A95E-B79E-488F-9622-A79EC6DF34B1}"/>
              </a:ext>
            </a:extLst>
          </p:cNvPr>
          <p:cNvCxnSpPr/>
          <p:nvPr/>
        </p:nvCxnSpPr>
        <p:spPr>
          <a:xfrm>
            <a:off x="5167547" y="4927990"/>
            <a:ext cx="876686" cy="0"/>
          </a:xfrm>
          <a:prstGeom prst="straightConnector1">
            <a:avLst/>
          </a:prstGeom>
          <a:ln w="57150">
            <a:solidFill>
              <a:srgbClr val="505CCC"/>
            </a:solidFill>
            <a:tailEnd type="triangl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B839FBB3-FF3E-46BA-83D3-375C99455327}"/>
              </a:ext>
            </a:extLst>
          </p:cNvPr>
          <p:cNvPicPr>
            <a:picLocks noChangeAspect="1"/>
          </p:cNvPicPr>
          <p:nvPr/>
        </p:nvPicPr>
        <p:blipFill>
          <a:blip r:embed="rId5"/>
          <a:stretch>
            <a:fillRect/>
          </a:stretch>
        </p:blipFill>
        <p:spPr>
          <a:xfrm>
            <a:off x="6670231" y="1804067"/>
            <a:ext cx="5229225" cy="666750"/>
          </a:xfrm>
          <a:prstGeom prst="rect">
            <a:avLst/>
          </a:prstGeom>
        </p:spPr>
      </p:pic>
    </p:spTree>
    <p:extLst>
      <p:ext uri="{BB962C8B-B14F-4D97-AF65-F5344CB8AC3E}">
        <p14:creationId xmlns:p14="http://schemas.microsoft.com/office/powerpoint/2010/main" val="23392028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0621BF5-1505-3C4C-A5FE-903CC55DDF30}"/>
              </a:ext>
            </a:extLst>
          </p:cNvPr>
          <p:cNvSpPr>
            <a:spLocks noGrp="1"/>
          </p:cNvSpPr>
          <p:nvPr>
            <p:ph type="body" sz="quarter" idx="14"/>
          </p:nvPr>
        </p:nvSpPr>
        <p:spPr/>
        <p:txBody>
          <a:bodyPr/>
          <a:lstStyle/>
          <a:p>
            <a:r>
              <a:rPr lang="en-US"/>
              <a:t>Web UI with highlight</a:t>
            </a:r>
          </a:p>
        </p:txBody>
      </p:sp>
      <p:sp>
        <p:nvSpPr>
          <p:cNvPr id="18" name="Blue header">
            <a:extLst>
              <a:ext uri="{FF2B5EF4-FFF2-40B4-BE49-F238E27FC236}">
                <a16:creationId xmlns:a16="http://schemas.microsoft.com/office/drawing/2014/main" id="{344ED62C-7FBB-7C4E-B9DD-D0B37B640184}"/>
              </a:ext>
            </a:extLst>
          </p:cNvPr>
          <p:cNvSpPr/>
          <p:nvPr/>
        </p:nvSpPr>
        <p:spPr>
          <a:xfrm>
            <a:off x="0" y="0"/>
            <a:ext cx="12192000" cy="1169043"/>
          </a:xfrm>
          <a:prstGeom prst="rect">
            <a:avLst/>
          </a:prstGeom>
          <a:solidFill>
            <a:srgbClr val="B401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2">
            <a:extLst>
              <a:ext uri="{FF2B5EF4-FFF2-40B4-BE49-F238E27FC236}">
                <a16:creationId xmlns:a16="http://schemas.microsoft.com/office/drawing/2014/main" id="{ED772027-5015-4946-921A-7B97EF750A71}"/>
              </a:ext>
            </a:extLst>
          </p:cNvPr>
          <p:cNvSpPr txBox="1">
            <a:spLocks/>
          </p:cNvSpPr>
          <p:nvPr/>
        </p:nvSpPr>
        <p:spPr>
          <a:xfrm>
            <a:off x="838199" y="29496"/>
            <a:ext cx="10061575" cy="1139547"/>
          </a:xfrm>
          <a:prstGeom prst="rect">
            <a:avLst/>
          </a:prstGeom>
        </p:spPr>
        <p:txBody>
          <a:bodyPr lIns="0" rIns="0" anchor="ctr"/>
          <a:lstStyle>
            <a:lvl1pPr marL="0" indent="0" algn="l" defTabSz="914400" rtl="0" eaLnBrk="1" latinLnBrk="0" hangingPunct="1">
              <a:lnSpc>
                <a:spcPct val="90000"/>
              </a:lnSpc>
              <a:spcBef>
                <a:spcPts val="1000"/>
              </a:spcBef>
              <a:buFontTx/>
              <a:buNone/>
              <a:defRPr sz="3600" b="1" i="0" kern="1200">
                <a:solidFill>
                  <a:schemeClr val="bg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Tx/>
              <a:buNone/>
              <a:defRPr sz="3600" b="1" i="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Manage Class Notebook</a:t>
            </a:r>
          </a:p>
        </p:txBody>
      </p:sp>
      <p:pic>
        <p:nvPicPr>
          <p:cNvPr id="2" name="Picture 1">
            <a:extLst>
              <a:ext uri="{FF2B5EF4-FFF2-40B4-BE49-F238E27FC236}">
                <a16:creationId xmlns:a16="http://schemas.microsoft.com/office/drawing/2014/main" id="{82F0E4B3-933A-4F9A-B405-A057FE287304}"/>
              </a:ext>
            </a:extLst>
          </p:cNvPr>
          <p:cNvPicPr>
            <a:picLocks noChangeAspect="1"/>
          </p:cNvPicPr>
          <p:nvPr/>
        </p:nvPicPr>
        <p:blipFill>
          <a:blip r:embed="rId3"/>
          <a:stretch>
            <a:fillRect/>
          </a:stretch>
        </p:blipFill>
        <p:spPr>
          <a:xfrm>
            <a:off x="609600" y="1790700"/>
            <a:ext cx="10972800" cy="3798277"/>
          </a:xfrm>
          <a:prstGeom prst="rect">
            <a:avLst/>
          </a:prstGeom>
        </p:spPr>
      </p:pic>
      <p:sp>
        <p:nvSpPr>
          <p:cNvPr id="4" name="Rectangle 3">
            <a:extLst>
              <a:ext uri="{FF2B5EF4-FFF2-40B4-BE49-F238E27FC236}">
                <a16:creationId xmlns:a16="http://schemas.microsoft.com/office/drawing/2014/main" id="{1564A013-26FC-43DE-85FB-3BF5BDB42F3D}"/>
              </a:ext>
            </a:extLst>
          </p:cNvPr>
          <p:cNvSpPr/>
          <p:nvPr/>
        </p:nvSpPr>
        <p:spPr>
          <a:xfrm>
            <a:off x="4648200" y="2628900"/>
            <a:ext cx="2095500" cy="723900"/>
          </a:xfrm>
          <a:prstGeom prst="rect">
            <a:avLst/>
          </a:prstGeom>
          <a:noFill/>
          <a:ln>
            <a:solidFill>
              <a:srgbClr val="B401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57099EE-157D-4622-9DF8-8EC395287A4A}"/>
              </a:ext>
            </a:extLst>
          </p:cNvPr>
          <p:cNvSpPr/>
          <p:nvPr/>
        </p:nvSpPr>
        <p:spPr>
          <a:xfrm>
            <a:off x="4648200" y="3467100"/>
            <a:ext cx="2095500" cy="723900"/>
          </a:xfrm>
          <a:prstGeom prst="rect">
            <a:avLst/>
          </a:prstGeom>
          <a:noFill/>
          <a:ln>
            <a:solidFill>
              <a:srgbClr val="B401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116587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 Education">
  <a:themeElements>
    <a:clrScheme name="Custom 1">
      <a:dk1>
        <a:srgbClr val="333333"/>
      </a:dk1>
      <a:lt1>
        <a:srgbClr val="FFFFFF"/>
      </a:lt1>
      <a:dk2>
        <a:srgbClr val="0078D7"/>
      </a:dk2>
      <a:lt2>
        <a:srgbClr val="FFFFFF"/>
      </a:lt2>
      <a:accent1>
        <a:srgbClr val="848484"/>
      </a:accent1>
      <a:accent2>
        <a:srgbClr val="FFB900"/>
      </a:accent2>
      <a:accent3>
        <a:srgbClr val="00BCF2"/>
      </a:accent3>
      <a:accent4>
        <a:srgbClr val="00B294"/>
      </a:accent4>
      <a:accent5>
        <a:srgbClr val="BAD80A"/>
      </a:accent5>
      <a:accent6>
        <a:srgbClr val="FF8C00"/>
      </a:accent6>
      <a:hlink>
        <a:srgbClr val="00188F"/>
      </a:hlink>
      <a:folHlink>
        <a:srgbClr val="5C2D91"/>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0BCF2"/>
          </a:solidFill>
          <a:headEnd type="oval" w="med" len="med"/>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solidFill>
              <a:schemeClr val="tx2"/>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412</TotalTime>
  <Words>1205</Words>
  <Application>Microsoft Office PowerPoint</Application>
  <PresentationFormat>Widescreen</PresentationFormat>
  <Paragraphs>242</Paragraphs>
  <Slides>28</Slides>
  <Notes>1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9" baseType="lpstr">
      <vt:lpstr>Arial</vt:lpstr>
      <vt:lpstr>Calibri</vt:lpstr>
      <vt:lpstr>Segoe UI</vt:lpstr>
      <vt:lpstr>Segoe UI Light</vt:lpstr>
      <vt:lpstr>Segoe UI Semibold</vt:lpstr>
      <vt:lpstr>Segoe UI Semilight</vt:lpstr>
      <vt:lpstr>Segoe UI Symbol</vt:lpstr>
      <vt:lpstr>Verdana</vt:lpstr>
      <vt:lpstr>Wingdings</vt:lpstr>
      <vt:lpstr>MS Education</vt:lpstr>
      <vt:lpstr>think-cell Slide</vt:lpstr>
      <vt:lpstr>Creating a Collaborative Learning Environment in Teams    Class Notebook</vt:lpstr>
      <vt:lpstr>Your Presenters</vt:lpstr>
      <vt:lpstr>Empower students in a Remote Classroom  </vt:lpstr>
      <vt:lpstr>Overview</vt:lpstr>
      <vt:lpstr>Microsoft Teams:  A Digital Hub </vt:lpstr>
      <vt:lpstr>Class Notebook in Team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dding Content to Notebook</vt:lpstr>
      <vt:lpstr>Getting Started: The Ribbon</vt:lpstr>
      <vt:lpstr>Getting Started: The Ribbon</vt:lpstr>
      <vt:lpstr>Getting Started: The Ribbon</vt:lpstr>
      <vt:lpstr>PowerPoint Presentation</vt:lpstr>
      <vt:lpstr>PowerPoint Presentation</vt:lpstr>
      <vt:lpstr>PowerPoint Presentation</vt:lpstr>
      <vt:lpstr>Student collaboration examples</vt:lpstr>
      <vt:lpstr>Student collaboration examples </vt:lpstr>
      <vt:lpstr>Student collaboration examples </vt:lpstr>
      <vt:lpstr>Review Student Work</vt:lpstr>
      <vt:lpstr>Provide Feedback</vt:lpstr>
      <vt:lpstr>Reflection  How might a digital  binder with both private  and collaborative spaces enhance student learning?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 to Office2016</dc:title>
  <dc:creator>v-kiwest@microsoft.com</dc:creator>
  <cp:lastModifiedBy>Krista Walker</cp:lastModifiedBy>
  <cp:revision>363</cp:revision>
  <dcterms:created xsi:type="dcterms:W3CDTF">1601-01-01T00:00:00Z</dcterms:created>
  <dcterms:modified xsi:type="dcterms:W3CDTF">2020-04-17T20:41:16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arkAsFinal">
    <vt:bool>true</vt:bool>
  </property>
</Properties>
</file>